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media/image23.jpg" ContentType="image/jpeg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9.xml" ContentType="application/vnd.openxmlformats-officedocument.presentationml.tags+xml"/>
  <Override PartName="/ppt/media/image28.jpg" ContentType="image/jpeg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0.xml" ContentType="application/vnd.openxmlformats-officedocument.presentationml.tags+xml"/>
  <Override PartName="/ppt/media/image29.jpg" ContentType="image/jpeg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media/image30.jpg" ContentType="image/jpeg"/>
  <Override PartName="/ppt/media/image31.jpg" ContentType="image/jpeg"/>
  <Override PartName="/ppt/media/image32.jpg" ContentType="image/jpeg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4549" r:id="rId5"/>
    <p:sldMasterId id="2147485831" r:id="rId6"/>
  </p:sldMasterIdLst>
  <p:notesMasterIdLst>
    <p:notesMasterId r:id="rId19"/>
  </p:notesMasterIdLst>
  <p:handoutMasterIdLst>
    <p:handoutMasterId r:id="rId20"/>
  </p:handoutMasterIdLst>
  <p:sldIdLst>
    <p:sldId id="1419" r:id="rId7"/>
    <p:sldId id="4329" r:id="rId8"/>
    <p:sldId id="4321" r:id="rId9"/>
    <p:sldId id="4326" r:id="rId10"/>
    <p:sldId id="4313" r:id="rId11"/>
    <p:sldId id="4319" r:id="rId12"/>
    <p:sldId id="4320" r:id="rId13"/>
    <p:sldId id="4333" r:id="rId14"/>
    <p:sldId id="4330" r:id="rId15"/>
    <p:sldId id="4315" r:id="rId16"/>
    <p:sldId id="4307" r:id="rId17"/>
    <p:sldId id="1159" r:id="rId18"/>
  </p:sldIdLst>
  <p:sldSz cx="12192000" cy="6858000"/>
  <p:notesSz cx="6797675" cy="9926638"/>
  <p:custDataLst>
    <p:tags r:id="rId21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511175" indent="-53975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1022350" indent="-10795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535113" indent="-163513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2046288" indent="-217488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7E28D94-33D4-4291-AC71-7396F67EED6C}">
          <p14:sldIdLst>
            <p14:sldId id="1419"/>
            <p14:sldId id="4329"/>
            <p14:sldId id="4321"/>
            <p14:sldId id="4326"/>
            <p14:sldId id="4313"/>
            <p14:sldId id="4319"/>
            <p14:sldId id="4320"/>
            <p14:sldId id="4333"/>
            <p14:sldId id="4330"/>
            <p14:sldId id="4315"/>
            <p14:sldId id="4307"/>
            <p14:sldId id="115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568">
          <p15:clr>
            <a:srgbClr val="A4A3A4"/>
          </p15:clr>
        </p15:guide>
        <p15:guide id="2" orient="horz" pos="3567">
          <p15:clr>
            <a:srgbClr val="A4A3A4"/>
          </p15:clr>
        </p15:guide>
        <p15:guide id="3" orient="horz" pos="1435">
          <p15:clr>
            <a:srgbClr val="A4A3A4"/>
          </p15:clr>
        </p15:guide>
        <p15:guide id="4" orient="horz" pos="1254">
          <p15:clr>
            <a:srgbClr val="A4A3A4"/>
          </p15:clr>
        </p15:guide>
        <p15:guide id="5" orient="horz" pos="1255">
          <p15:clr>
            <a:srgbClr val="A4A3A4"/>
          </p15:clr>
        </p15:guide>
        <p15:guide id="6" orient="horz" pos="2842">
          <p15:clr>
            <a:srgbClr val="A4A3A4"/>
          </p15:clr>
        </p15:guide>
        <p15:guide id="7" orient="horz" pos="4022">
          <p15:clr>
            <a:srgbClr val="A4A3A4"/>
          </p15:clr>
        </p15:guide>
        <p15:guide id="8" orient="horz" pos="985">
          <p15:clr>
            <a:srgbClr val="A4A3A4"/>
          </p15:clr>
        </p15:guide>
        <p15:guide id="9" pos="7376">
          <p15:clr>
            <a:srgbClr val="A4A3A4"/>
          </p15:clr>
        </p15:guide>
        <p15:guide id="10" pos="299">
          <p15:clr>
            <a:srgbClr val="A4A3A4"/>
          </p15:clr>
        </p15:guide>
        <p15:guide id="11" pos="3808">
          <p15:clr>
            <a:srgbClr val="A4A3A4"/>
          </p15:clr>
        </p15:guide>
        <p15:guide id="12" pos="2720">
          <p15:clr>
            <a:srgbClr val="A4A3A4"/>
          </p15:clr>
        </p15:guide>
        <p15:guide id="13" pos="240">
          <p15:clr>
            <a:srgbClr val="A4A3A4"/>
          </p15:clr>
        </p15:guide>
        <p15:guide id="14" pos="761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lena Ocenic" initials="" lastIdx="5" clrIdx="0"/>
  <p:cmAuthor id="2" name="Elena Ocenic" initials="EO" lastIdx="14" clrIdx="1">
    <p:extLst>
      <p:ext uri="{19B8F6BF-5375-455C-9EA6-DF929625EA0E}">
        <p15:presenceInfo xmlns:p15="http://schemas.microsoft.com/office/powerpoint/2012/main" userId="S-1-5-21-653272589-3936800030-4198134656-5013" providerId="AD"/>
      </p:ext>
    </p:extLst>
  </p:cmAuthor>
  <p:cmAuthor id="3" name="Nina Litman-Roventa" initials="NL" lastIdx="7" clrIdx="2">
    <p:extLst>
      <p:ext uri="{19B8F6BF-5375-455C-9EA6-DF929625EA0E}">
        <p15:presenceInfo xmlns:p15="http://schemas.microsoft.com/office/powerpoint/2012/main" userId="S-1-5-21-653272589-3936800030-4198134656-8631" providerId="AD"/>
      </p:ext>
    </p:extLst>
  </p:cmAuthor>
  <p:cmAuthor id="4" name="Liliana Andreia Morais Gomes" initials="LAMG" lastIdx="5" clrIdx="3">
    <p:extLst>
      <p:ext uri="{19B8F6BF-5375-455C-9EA6-DF929625EA0E}">
        <p15:presenceInfo xmlns:p15="http://schemas.microsoft.com/office/powerpoint/2012/main" userId="S-1-5-21-653272589-3936800030-4198134656-10414" providerId="AD"/>
      </p:ext>
    </p:extLst>
  </p:cmAuthor>
  <p:cmAuthor id="5" name="Arina Anisie" initials="AA" lastIdx="1" clrIdx="4">
    <p:extLst>
      <p:ext uri="{19B8F6BF-5375-455C-9EA6-DF929625EA0E}">
        <p15:presenceInfo xmlns:p15="http://schemas.microsoft.com/office/powerpoint/2012/main" userId="S-1-5-21-653272589-3936800030-4198134656-676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872A6"/>
    <a:srgbClr val="BAE3ED"/>
    <a:srgbClr val="8F8C22"/>
    <a:srgbClr val="DD9B15"/>
    <a:srgbClr val="D9C7D9"/>
    <a:srgbClr val="006FA3"/>
    <a:srgbClr val="2E8CBA"/>
    <a:srgbClr val="B0D4C2"/>
    <a:srgbClr val="F0BFBA"/>
    <a:srgbClr val="85A8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B7BA9A3-7F62-4B59-9E62-0620DB0BED13}" v="4" dt="2021-06-01T11:34:43.624"/>
  </p1510:revLst>
</p1510:revInfo>
</file>

<file path=ppt/tableStyles.xml><?xml version="1.0" encoding="utf-8"?>
<a:tblStyleLst xmlns:a="http://schemas.openxmlformats.org/drawingml/2006/main" def="{5C22544A-7EE6-4342-B048-85BDC9FD1C3A}"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947" autoAdjust="0"/>
  </p:normalViewPr>
  <p:slideViewPr>
    <p:cSldViewPr snapToGrid="0">
      <p:cViewPr varScale="1">
        <p:scale>
          <a:sx n="76" d="100"/>
          <a:sy n="76" d="100"/>
        </p:scale>
        <p:origin x="917" y="58"/>
      </p:cViewPr>
      <p:guideLst>
        <p:guide orient="horz" pos="3568"/>
        <p:guide orient="horz" pos="3567"/>
        <p:guide orient="horz" pos="1435"/>
        <p:guide orient="horz" pos="1254"/>
        <p:guide orient="horz" pos="1255"/>
        <p:guide orient="horz" pos="2842"/>
        <p:guide orient="horz" pos="4022"/>
        <p:guide orient="horz" pos="985"/>
        <p:guide pos="7376"/>
        <p:guide pos="299"/>
        <p:guide pos="3808"/>
        <p:guide pos="2720"/>
        <p:guide pos="240"/>
        <p:guide pos="7619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Relationship Id="rId27" Type="http://schemas.microsoft.com/office/2015/10/relationships/revisionInfo" Target="revisionInfo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image" Target="../media/image24.png"/><Relationship Id="rId4" Type="http://schemas.openxmlformats.org/officeDocument/2006/relationships/image" Target="../media/image27.pn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image" Target="../media/image24.png"/><Relationship Id="rId4" Type="http://schemas.openxmlformats.org/officeDocument/2006/relationships/image" Target="../media/image27.pn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image" Target="../media/image24.png"/><Relationship Id="rId4" Type="http://schemas.openxmlformats.org/officeDocument/2006/relationships/image" Target="../media/image27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image" Target="../media/image24.png"/><Relationship Id="rId4" Type="http://schemas.openxmlformats.org/officeDocument/2006/relationships/image" Target="../media/image27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image" Target="../media/image24.png"/><Relationship Id="rId4" Type="http://schemas.openxmlformats.org/officeDocument/2006/relationships/image" Target="../media/image27.pn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image" Target="../media/image24.png"/><Relationship Id="rId4" Type="http://schemas.openxmlformats.org/officeDocument/2006/relationships/image" Target="../media/image27.png"/></Relationships>
</file>

<file path=ppt/diagrams/_rels/drawing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4D61782-E54C-4900-8AC0-5F02064C78C2}" type="doc">
      <dgm:prSet loTypeId="urn:microsoft.com/office/officeart/2005/8/layout/hList2" loCatId="list" qsTypeId="urn:microsoft.com/office/officeart/2005/8/quickstyle/simple2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AA88702B-C180-47AF-8E74-9388484113E5}">
      <dgm:prSet phldrT="[Text]"/>
      <dgm:spPr/>
      <dgm:t>
        <a:bodyPr/>
        <a:lstStyle/>
        <a:p>
          <a:r>
            <a:rPr lang="en-US" b="1" dirty="0"/>
            <a:t> </a:t>
          </a:r>
        </a:p>
      </dgm:t>
    </dgm:pt>
    <dgm:pt modelId="{B398DD24-1185-4152-9C59-5183A0F81508}" type="parTrans" cxnId="{32F3B514-D4EF-49C8-9797-3CBEFDF3481B}">
      <dgm:prSet/>
      <dgm:spPr/>
      <dgm:t>
        <a:bodyPr/>
        <a:lstStyle/>
        <a:p>
          <a:endParaRPr lang="en-US"/>
        </a:p>
      </dgm:t>
    </dgm:pt>
    <dgm:pt modelId="{CCA68464-9CBF-4228-AF05-BDB2FBA6FBE7}" type="sibTrans" cxnId="{32F3B514-D4EF-49C8-9797-3CBEFDF3481B}">
      <dgm:prSet/>
      <dgm:spPr/>
      <dgm:t>
        <a:bodyPr/>
        <a:lstStyle/>
        <a:p>
          <a:endParaRPr lang="en-US"/>
        </a:p>
      </dgm:t>
    </dgm:pt>
    <dgm:pt modelId="{AE3D05B7-06C1-4DD8-8F8A-AC27922142D9}">
      <dgm:prSet phldrT="[Text]"/>
      <dgm:spPr/>
      <dgm:t>
        <a:bodyPr/>
        <a:lstStyle/>
        <a:p>
          <a:endParaRPr lang="en-US" b="1" dirty="0"/>
        </a:p>
      </dgm:t>
    </dgm:pt>
    <dgm:pt modelId="{9E1405E8-BD0A-470C-ADF8-9FDA08DF3CB9}" type="parTrans" cxnId="{E491E607-3A50-406B-A945-068334D5BFAF}">
      <dgm:prSet/>
      <dgm:spPr/>
      <dgm:t>
        <a:bodyPr/>
        <a:lstStyle/>
        <a:p>
          <a:endParaRPr lang="en-US"/>
        </a:p>
      </dgm:t>
    </dgm:pt>
    <dgm:pt modelId="{271553B5-D0F0-48A6-87EE-687E101172F0}" type="sibTrans" cxnId="{E491E607-3A50-406B-A945-068334D5BFAF}">
      <dgm:prSet/>
      <dgm:spPr/>
      <dgm:t>
        <a:bodyPr/>
        <a:lstStyle/>
        <a:p>
          <a:endParaRPr lang="en-US"/>
        </a:p>
      </dgm:t>
    </dgm:pt>
    <dgm:pt modelId="{331AE247-4E04-45B6-A5F2-B99BEA150912}">
      <dgm:prSet phldrT="[Text]" custT="1"/>
      <dgm:spPr/>
      <dgm:t>
        <a:bodyPr/>
        <a:lstStyle/>
        <a:p>
          <a:r>
            <a:rPr lang="en-US" sz="1600">
              <a:latin typeface="Calibri" panose="020F0502020204030204" pitchFamily="34" charset="0"/>
              <a:cs typeface="Calibri" panose="020F0502020204030204" pitchFamily="34" charset="0"/>
            </a:rPr>
            <a:t>Global capacity: </a:t>
          </a:r>
          <a:r>
            <a:rPr lang="en-US" sz="1600" b="1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380 GW</a:t>
          </a:r>
          <a:r>
            <a:rPr lang="en-US" sz="1600">
              <a:latin typeface="Calibri" panose="020F0502020204030204" pitchFamily="34" charset="0"/>
              <a:cs typeface="Calibri" panose="020F0502020204030204" pitchFamily="34" charset="0"/>
            </a:rPr>
            <a:t> in 2030 and </a:t>
          </a:r>
          <a:r>
            <a:rPr lang="en-US" sz="1600" b="1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2,000 GW</a:t>
          </a:r>
          <a:r>
            <a:rPr lang="en-US" sz="160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1600">
              <a:latin typeface="Calibri" panose="020F0502020204030204" pitchFamily="34" charset="0"/>
              <a:cs typeface="Calibri" panose="020F0502020204030204" pitchFamily="34" charset="0"/>
            </a:rPr>
            <a:t>in 2050</a:t>
          </a:r>
          <a:br>
            <a:rPr lang="en-US" sz="160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3743619-8325-46CC-93F1-4B39A3FFEE26}" type="parTrans" cxnId="{B2662311-CD22-44EB-AECA-8E95BBC62C96}">
      <dgm:prSet/>
      <dgm:spPr/>
      <dgm:t>
        <a:bodyPr/>
        <a:lstStyle/>
        <a:p>
          <a:endParaRPr lang="en-US"/>
        </a:p>
      </dgm:t>
    </dgm:pt>
    <dgm:pt modelId="{E38312A3-7D64-424B-B865-7B5B3CC7E004}" type="sibTrans" cxnId="{B2662311-CD22-44EB-AECA-8E95BBC62C96}">
      <dgm:prSet/>
      <dgm:spPr/>
      <dgm:t>
        <a:bodyPr/>
        <a:lstStyle/>
        <a:p>
          <a:endParaRPr lang="en-US"/>
        </a:p>
      </dgm:t>
    </dgm:pt>
    <dgm:pt modelId="{76A6A0BD-B623-428E-85D4-D71E7E6B28F5}">
      <dgm:prSet phldrT="[Text]" custT="1"/>
      <dgm:spPr/>
      <dgm:t>
        <a:bodyPr/>
        <a:lstStyle/>
        <a:p>
          <a:r>
            <a:rPr lang="en-US" sz="1600">
              <a:latin typeface="Calibri" panose="020F0502020204030204" pitchFamily="34" charset="0"/>
              <a:cs typeface="Calibri" panose="020F0502020204030204" pitchFamily="34" charset="0"/>
            </a:rPr>
            <a:t>Needed annual investments: </a:t>
          </a:r>
          <a:r>
            <a:rPr lang="en-US" sz="1600" b="1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~ 150 </a:t>
          </a:r>
          <a:r>
            <a:rPr lang="en-US" sz="1600">
              <a:latin typeface="Calibri" panose="020F0502020204030204" pitchFamily="34" charset="0"/>
              <a:cs typeface="Calibri" panose="020F0502020204030204" pitchFamily="34" charset="0"/>
            </a:rPr>
            <a:t>to </a:t>
          </a:r>
          <a:r>
            <a:rPr lang="en-US" sz="1600" b="1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200 USD billions </a:t>
          </a:r>
          <a:r>
            <a:rPr lang="en-US" sz="1600">
              <a:latin typeface="Calibri" panose="020F0502020204030204" pitchFamily="34" charset="0"/>
              <a:cs typeface="Calibri" panose="020F0502020204030204" pitchFamily="34" charset="0"/>
            </a:rPr>
            <a:t>per year</a:t>
          </a:r>
          <a:endParaRPr lang="en-US" sz="16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6FEF445-4F37-4BD9-900D-009EB0498ABA}" type="parTrans" cxnId="{6493A0C0-CDD8-4DD9-86AC-3415BE4B7C9E}">
      <dgm:prSet/>
      <dgm:spPr/>
      <dgm:t>
        <a:bodyPr/>
        <a:lstStyle/>
        <a:p>
          <a:endParaRPr lang="en-US"/>
        </a:p>
      </dgm:t>
    </dgm:pt>
    <dgm:pt modelId="{4C913B95-7546-4385-9EB9-5835F61729CB}" type="sibTrans" cxnId="{6493A0C0-CDD8-4DD9-86AC-3415BE4B7C9E}">
      <dgm:prSet/>
      <dgm:spPr/>
      <dgm:t>
        <a:bodyPr/>
        <a:lstStyle/>
        <a:p>
          <a:endParaRPr lang="en-US"/>
        </a:p>
      </dgm:t>
    </dgm:pt>
    <dgm:pt modelId="{9FB1CE08-AB41-413A-9574-22B6E9A6B541}">
      <dgm:prSet phldrT="[Text]"/>
      <dgm:spPr/>
      <dgm:t>
        <a:bodyPr/>
        <a:lstStyle/>
        <a:p>
          <a:r>
            <a:rPr lang="en-US" b="1" dirty="0">
              <a:latin typeface="Calibri" panose="020F0502020204030204" pitchFamily="34" charset="0"/>
              <a:cs typeface="Calibri" panose="020F0502020204030204" pitchFamily="34" charset="0"/>
            </a:rPr>
            <a:t>Fixed foundations</a:t>
          </a:r>
          <a: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  <a:t>:</a:t>
          </a:r>
        </a:p>
      </dgm:t>
    </dgm:pt>
    <dgm:pt modelId="{AB275852-B3AF-4491-8DA5-1B2951DAC4AD}" type="parTrans" cxnId="{C54617E2-7EBF-4613-833D-B9B2A8702F08}">
      <dgm:prSet/>
      <dgm:spPr/>
      <dgm:t>
        <a:bodyPr/>
        <a:lstStyle/>
        <a:p>
          <a:endParaRPr lang="en-US"/>
        </a:p>
      </dgm:t>
    </dgm:pt>
    <dgm:pt modelId="{11771FF4-9728-4FE8-9A04-DD55C8642C9B}" type="sibTrans" cxnId="{C54617E2-7EBF-4613-833D-B9B2A8702F08}">
      <dgm:prSet/>
      <dgm:spPr/>
      <dgm:t>
        <a:bodyPr/>
        <a:lstStyle/>
        <a:p>
          <a:endParaRPr lang="en-US"/>
        </a:p>
      </dgm:t>
    </dgm:pt>
    <dgm:pt modelId="{C329C6BF-595F-4465-AD0E-3C0C2060388C}">
      <dgm:prSet custT="1"/>
      <dgm:spPr/>
      <dgm:t>
        <a:bodyPr/>
        <a:lstStyle/>
        <a:p>
          <a:r>
            <a:rPr lang="en-US" sz="1600">
              <a:latin typeface="Calibri" panose="020F0502020204030204" pitchFamily="34" charset="0"/>
              <a:cs typeface="Calibri" panose="020F0502020204030204" pitchFamily="34" charset="0"/>
            </a:rPr>
            <a:t>Growth between 2019 and 2020: </a:t>
          </a:r>
          <a:r>
            <a:rPr lang="en-US" sz="1600" b="1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18%</a:t>
          </a:r>
          <a:br>
            <a:rPr lang="en-US" sz="1600" b="1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b="1" dirty="0">
            <a:solidFill>
              <a:srgbClr val="0872A6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06271818-5C26-44B2-8663-846189834A0C}" type="parTrans" cxnId="{8FD063D6-2788-44D0-BB70-2277936A7F75}">
      <dgm:prSet/>
      <dgm:spPr/>
      <dgm:t>
        <a:bodyPr/>
        <a:lstStyle/>
        <a:p>
          <a:endParaRPr lang="en-US"/>
        </a:p>
      </dgm:t>
    </dgm:pt>
    <dgm:pt modelId="{6322E975-BE4D-4A04-85AA-20262AD29F97}" type="sibTrans" cxnId="{8FD063D6-2788-44D0-BB70-2277936A7F75}">
      <dgm:prSet/>
      <dgm:spPr/>
      <dgm:t>
        <a:bodyPr/>
        <a:lstStyle/>
        <a:p>
          <a:endParaRPr lang="en-US"/>
        </a:p>
      </dgm:t>
    </dgm:pt>
    <dgm:pt modelId="{4EB6DEC2-7540-4131-A465-D82F090F2BA6}">
      <dgm:prSet custT="1"/>
      <dgm:spPr/>
      <dgm:t>
        <a:bodyPr/>
        <a:lstStyle/>
        <a:p>
          <a:r>
            <a:rPr lang="en-US" sz="1600">
              <a:latin typeface="Calibri" panose="020F0502020204030204" pitchFamily="34" charset="0"/>
              <a:cs typeface="Calibri" panose="020F0502020204030204" pitchFamily="34" charset="0"/>
            </a:rPr>
            <a:t>Leading region: Europe </a:t>
          </a:r>
          <a:r>
            <a:rPr lang="en-US" sz="1600" b="1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90%</a:t>
          </a:r>
          <a:r>
            <a:rPr lang="en-US" sz="1600">
              <a:latin typeface="Calibri" panose="020F0502020204030204" pitchFamily="34" charset="0"/>
              <a:cs typeface="Calibri" panose="020F0502020204030204" pitchFamily="34" charset="0"/>
            </a:rPr>
            <a:t> of global capacity</a:t>
          </a:r>
          <a:br>
            <a:rPr lang="en-US" sz="160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D5423B3E-1BCB-418F-AD99-8DA38E29CE73}" type="parTrans" cxnId="{E62C39D2-4225-4993-B920-7A11128CF29E}">
      <dgm:prSet/>
      <dgm:spPr/>
      <dgm:t>
        <a:bodyPr/>
        <a:lstStyle/>
        <a:p>
          <a:endParaRPr lang="en-US"/>
        </a:p>
      </dgm:t>
    </dgm:pt>
    <dgm:pt modelId="{0CBE223F-0E28-43FE-AEDE-1B43FB063791}" type="sibTrans" cxnId="{E62C39D2-4225-4993-B920-7A11128CF29E}">
      <dgm:prSet/>
      <dgm:spPr/>
      <dgm:t>
        <a:bodyPr/>
        <a:lstStyle/>
        <a:p>
          <a:endParaRPr lang="en-US"/>
        </a:p>
      </dgm:t>
    </dgm:pt>
    <dgm:pt modelId="{D50E7960-C4B7-4C68-A83E-29B0F17C6A5B}">
      <dgm:prSet custT="1"/>
      <dgm:spPr/>
      <dgm:t>
        <a:bodyPr/>
        <a:lstStyle/>
        <a:p>
          <a:r>
            <a:rPr lang="en-US" sz="1600">
              <a:latin typeface="Calibri" panose="020F0502020204030204" pitchFamily="34" charset="0"/>
              <a:cs typeface="Calibri" panose="020F0502020204030204" pitchFamily="34" charset="0"/>
            </a:rPr>
            <a:t>New markets: China half of new additions in 2020 </a:t>
          </a:r>
          <a:r>
            <a:rPr lang="en-US" sz="1600" b="1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(3 GW China)</a:t>
          </a:r>
          <a:br>
            <a:rPr lang="en-US" sz="1600" b="1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b="1" dirty="0">
            <a:solidFill>
              <a:srgbClr val="0872A6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56D1E0E-95F7-4ACF-B357-6CCEE2386CF0}" type="parTrans" cxnId="{59A0C479-0C23-4520-A161-9C941B51BC5E}">
      <dgm:prSet/>
      <dgm:spPr/>
      <dgm:t>
        <a:bodyPr/>
        <a:lstStyle/>
        <a:p>
          <a:endParaRPr lang="en-US"/>
        </a:p>
      </dgm:t>
    </dgm:pt>
    <dgm:pt modelId="{7710361D-B9DE-43E5-9FC2-A18BAB956E3B}" type="sibTrans" cxnId="{59A0C479-0C23-4520-A161-9C941B51BC5E}">
      <dgm:prSet/>
      <dgm:spPr/>
      <dgm:t>
        <a:bodyPr/>
        <a:lstStyle/>
        <a:p>
          <a:endParaRPr lang="en-US"/>
        </a:p>
      </dgm:t>
    </dgm:pt>
    <dgm:pt modelId="{C330BBC7-D0AC-4F26-8338-8B09957851B4}">
      <dgm:prSet custT="1"/>
      <dgm:spPr/>
      <dgm:t>
        <a:bodyPr/>
        <a:lstStyle/>
        <a:p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Global floating wind capacity: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30 MW</a:t>
          </a:r>
          <a:b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b="1" dirty="0">
            <a:solidFill>
              <a:srgbClr val="0872A6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B42932DA-DAC4-451B-9EEC-8903F188E3E3}" type="parTrans" cxnId="{366EA89E-8AA3-4D26-AD87-422C3A8AB837}">
      <dgm:prSet/>
      <dgm:spPr/>
      <dgm:t>
        <a:bodyPr/>
        <a:lstStyle/>
        <a:p>
          <a:endParaRPr lang="en-US"/>
        </a:p>
      </dgm:t>
    </dgm:pt>
    <dgm:pt modelId="{22C6CD76-26E2-4DA4-9256-4548C8F62E06}" type="sibTrans" cxnId="{366EA89E-8AA3-4D26-AD87-422C3A8AB837}">
      <dgm:prSet/>
      <dgm:spPr/>
      <dgm:t>
        <a:bodyPr/>
        <a:lstStyle/>
        <a:p>
          <a:endParaRPr lang="en-US"/>
        </a:p>
      </dgm:t>
    </dgm:pt>
    <dgm:pt modelId="{296B9103-4DF1-4D57-A66A-96A56CC7C9E5}">
      <dgm:prSet phldrT="[Text]" custT="1"/>
      <dgm:spPr/>
      <dgm:t>
        <a:bodyPr/>
        <a:lstStyle/>
        <a:p>
          <a:r>
            <a:rPr lang="en-US" sz="1600">
              <a:latin typeface="Calibri" panose="020F0502020204030204" pitchFamily="34" charset="0"/>
              <a:cs typeface="Calibri" panose="020F0502020204030204" pitchFamily="34" charset="0"/>
            </a:rPr>
            <a:t>Needed annual installations: </a:t>
          </a:r>
          <a:r>
            <a:rPr lang="en-US" sz="1600" b="1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~ 70 GW </a:t>
          </a:r>
          <a:r>
            <a:rPr lang="en-US" sz="1600">
              <a:latin typeface="Calibri" panose="020F0502020204030204" pitchFamily="34" charset="0"/>
              <a:cs typeface="Calibri" panose="020F0502020204030204" pitchFamily="34" charset="0"/>
            </a:rPr>
            <a:t>per year </a:t>
          </a:r>
          <a:br>
            <a:rPr lang="en-US" sz="160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2E23557-3B5D-4A3A-B347-4CEB4BF1937A}" type="parTrans" cxnId="{8C97CD13-659D-482C-8ACE-F65DBEDF8399}">
      <dgm:prSet/>
      <dgm:spPr/>
      <dgm:t>
        <a:bodyPr/>
        <a:lstStyle/>
        <a:p>
          <a:endParaRPr lang="en-US"/>
        </a:p>
      </dgm:t>
    </dgm:pt>
    <dgm:pt modelId="{03527FC0-9F0F-4EF3-9EC1-3C307605E985}" type="sibTrans" cxnId="{8C97CD13-659D-482C-8ACE-F65DBEDF8399}">
      <dgm:prSet/>
      <dgm:spPr/>
      <dgm:t>
        <a:bodyPr/>
        <a:lstStyle/>
        <a:p>
          <a:endParaRPr lang="en-US"/>
        </a:p>
      </dgm:t>
    </dgm:pt>
    <dgm:pt modelId="{591EBABC-1878-4C2D-A074-57B6491CEDD0}">
      <dgm:prSet phldrT="[Text]" custT="1"/>
      <dgm:spPr/>
      <dgm:t>
        <a:bodyPr/>
        <a:lstStyle/>
        <a:p>
          <a:r>
            <a:rPr lang="en-US" sz="1600">
              <a:latin typeface="Calibri" panose="020F0502020204030204" pitchFamily="34" charset="0"/>
              <a:cs typeface="Calibri" panose="020F0502020204030204" pitchFamily="34" charset="0"/>
            </a:rPr>
            <a:t>Floating </a:t>
          </a:r>
          <a:r>
            <a:rPr lang="en-US" sz="1600" b="1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~ 30 GW </a:t>
          </a:r>
          <a:r>
            <a:rPr lang="en-US" sz="1600">
              <a:latin typeface="Calibri" panose="020F0502020204030204" pitchFamily="34" charset="0"/>
              <a:cs typeface="Calibri" panose="020F0502020204030204" pitchFamily="34" charset="0"/>
            </a:rPr>
            <a:t>in 2030 and </a:t>
          </a:r>
          <a:r>
            <a:rPr lang="en-US" sz="1600" b="1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~ 300 GW </a:t>
          </a:r>
          <a:r>
            <a:rPr lang="en-US" sz="1600">
              <a:latin typeface="Calibri" panose="020F0502020204030204" pitchFamily="34" charset="0"/>
              <a:cs typeface="Calibri" panose="020F0502020204030204" pitchFamily="34" charset="0"/>
            </a:rPr>
            <a:t>2050</a:t>
          </a:r>
          <a:br>
            <a:rPr lang="en-US" sz="160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2AA93C64-E638-488F-A02D-107FC6021F1C}" type="parTrans" cxnId="{CCE60FBE-84F6-4938-B54E-F70FDC35E6F0}">
      <dgm:prSet/>
      <dgm:spPr/>
      <dgm:t>
        <a:bodyPr/>
        <a:lstStyle/>
        <a:p>
          <a:endParaRPr lang="en-US"/>
        </a:p>
      </dgm:t>
    </dgm:pt>
    <dgm:pt modelId="{F45D6A4E-8D7F-4633-89BA-8040E5695CE2}" type="sibTrans" cxnId="{CCE60FBE-84F6-4938-B54E-F70FDC35E6F0}">
      <dgm:prSet/>
      <dgm:spPr/>
      <dgm:t>
        <a:bodyPr/>
        <a:lstStyle/>
        <a:p>
          <a:endParaRPr lang="en-US"/>
        </a:p>
      </dgm:t>
    </dgm:pt>
    <dgm:pt modelId="{F5C1749A-FCCD-47AA-B5DF-B6B8B3601876}">
      <dgm:prSet phldrT="[Text]"/>
      <dgm:spPr/>
      <dgm:t>
        <a:bodyPr/>
        <a:lstStyle/>
        <a:p>
          <a:pPr>
            <a:buFont typeface="Symbol" panose="05050102010706020507" pitchFamily="18" charset="2"/>
            <a:buChar char=""/>
          </a:pPr>
          <a:r>
            <a:rPr lang="en-US">
              <a:latin typeface="Calibri" panose="020F0502020204030204" pitchFamily="34" charset="0"/>
              <a:cs typeface="Calibri" panose="020F0502020204030204" pitchFamily="34" charset="0"/>
            </a:rPr>
            <a:t>2019 Global average: </a:t>
          </a:r>
          <a:r>
            <a:rPr lang="en-US" b="1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USD 0.115/kWh </a:t>
          </a:r>
          <a:endParaRPr lang="en-US" b="1" dirty="0">
            <a:solidFill>
              <a:srgbClr val="0872A6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00BA2226-7946-4865-8D6E-2148F2000869}" type="parTrans" cxnId="{6B83BF49-E904-482C-BEC3-76B452BE5FFA}">
      <dgm:prSet/>
      <dgm:spPr/>
      <dgm:t>
        <a:bodyPr/>
        <a:lstStyle/>
        <a:p>
          <a:endParaRPr lang="en-US"/>
        </a:p>
      </dgm:t>
    </dgm:pt>
    <dgm:pt modelId="{199BC01A-05FA-4AA4-9EB6-8979A79E5048}" type="sibTrans" cxnId="{6B83BF49-E904-482C-BEC3-76B452BE5FFA}">
      <dgm:prSet/>
      <dgm:spPr/>
      <dgm:t>
        <a:bodyPr/>
        <a:lstStyle/>
        <a:p>
          <a:endParaRPr lang="en-US"/>
        </a:p>
      </dgm:t>
    </dgm:pt>
    <dgm:pt modelId="{6D16A08B-B9B6-42FD-96CD-42AB752F4170}">
      <dgm:prSet/>
      <dgm:spPr/>
      <dgm:t>
        <a:bodyPr/>
        <a:lstStyle/>
        <a:p>
          <a:r>
            <a:rPr lang="en-US">
              <a:latin typeface="Calibri" panose="020F0502020204030204" pitchFamily="34" charset="0"/>
              <a:cs typeface="Calibri" panose="020F0502020204030204" pitchFamily="34" charset="0"/>
            </a:rPr>
            <a:t>2023 outlook based on auction data: </a:t>
          </a:r>
          <a:r>
            <a:rPr lang="en-US" b="1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USD 0.05 – 0.10/kWh</a:t>
          </a:r>
          <a:br>
            <a:rPr lang="en-US" b="1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b="1" dirty="0">
            <a:solidFill>
              <a:srgbClr val="0872A6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D377438D-3EA1-46B3-9565-CD3E91D016AE}" type="parTrans" cxnId="{9B507580-B798-41E3-9734-945CA6A18992}">
      <dgm:prSet/>
      <dgm:spPr/>
      <dgm:t>
        <a:bodyPr/>
        <a:lstStyle/>
        <a:p>
          <a:endParaRPr lang="en-US"/>
        </a:p>
      </dgm:t>
    </dgm:pt>
    <dgm:pt modelId="{3A3F9F38-68DE-41B2-9081-581261A3F2F8}" type="sibTrans" cxnId="{9B507580-B798-41E3-9734-945CA6A18992}">
      <dgm:prSet/>
      <dgm:spPr/>
      <dgm:t>
        <a:bodyPr/>
        <a:lstStyle/>
        <a:p>
          <a:endParaRPr lang="en-US"/>
        </a:p>
      </dgm:t>
    </dgm:pt>
    <dgm:pt modelId="{0FD60082-37E6-4503-ABE8-C27213F7DDA0}">
      <dgm:prSet/>
      <dgm:spPr/>
      <dgm:t>
        <a:bodyPr/>
        <a:lstStyle/>
        <a:p>
          <a:r>
            <a:rPr lang="en-US" b="1" dirty="0">
              <a:latin typeface="Calibri" panose="020F0502020204030204" pitchFamily="34" charset="0"/>
              <a:cs typeface="Calibri" panose="020F0502020204030204" pitchFamily="34" charset="0"/>
            </a:rPr>
            <a:t>Floating foundations</a:t>
          </a:r>
          <a: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  <a:t>:</a:t>
          </a:r>
        </a:p>
      </dgm:t>
    </dgm:pt>
    <dgm:pt modelId="{9FDCA6E8-FA8F-4A83-A3CB-439E3AD0EE3E}" type="parTrans" cxnId="{C477DA2D-CEC5-486E-AC33-264A6DC96D94}">
      <dgm:prSet/>
      <dgm:spPr/>
      <dgm:t>
        <a:bodyPr/>
        <a:lstStyle/>
        <a:p>
          <a:endParaRPr lang="en-US"/>
        </a:p>
      </dgm:t>
    </dgm:pt>
    <dgm:pt modelId="{CBA24F15-3CC0-4887-B7F4-9867BAA12E02}" type="sibTrans" cxnId="{C477DA2D-CEC5-486E-AC33-264A6DC96D94}">
      <dgm:prSet/>
      <dgm:spPr/>
      <dgm:t>
        <a:bodyPr/>
        <a:lstStyle/>
        <a:p>
          <a:endParaRPr lang="en-US"/>
        </a:p>
      </dgm:t>
    </dgm:pt>
    <dgm:pt modelId="{F8DD00C0-9D2D-4234-AF3C-AD653E547057}">
      <dgm:prSet/>
      <dgm:spPr/>
      <dgm:t>
        <a:bodyPr/>
        <a:lstStyle/>
        <a:p>
          <a:pPr>
            <a:buFont typeface="Symbol" panose="05050102010706020507" pitchFamily="18" charset="2"/>
            <a:buChar char=""/>
          </a:pPr>
          <a:r>
            <a:rPr lang="en-US">
              <a:latin typeface="Calibri" panose="020F0502020204030204" pitchFamily="34" charset="0"/>
              <a:cs typeface="Calibri" panose="020F0502020204030204" pitchFamily="34" charset="0"/>
            </a:rPr>
            <a:t>2019 Global average: </a:t>
          </a:r>
          <a:r>
            <a:rPr lang="en-US" b="1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USD 0.160/kWh</a:t>
          </a:r>
          <a:r>
            <a:rPr lang="en-US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endParaRPr lang="en-US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C990C262-1D4A-462D-9827-582FE6E8B881}" type="parTrans" cxnId="{06CF155F-805B-4701-80E2-A10205CAE22D}">
      <dgm:prSet/>
      <dgm:spPr/>
      <dgm:t>
        <a:bodyPr/>
        <a:lstStyle/>
        <a:p>
          <a:endParaRPr lang="en-US"/>
        </a:p>
      </dgm:t>
    </dgm:pt>
    <dgm:pt modelId="{2C63A5E6-090E-4334-AC51-367E0782DBAB}" type="sibTrans" cxnId="{06CF155F-805B-4701-80E2-A10205CAE22D}">
      <dgm:prSet/>
      <dgm:spPr/>
      <dgm:t>
        <a:bodyPr/>
        <a:lstStyle/>
        <a:p>
          <a:endParaRPr lang="en-US"/>
        </a:p>
      </dgm:t>
    </dgm:pt>
    <dgm:pt modelId="{06337BF3-E901-427E-82A1-96CDDB0DFC67}">
      <dgm:prSet/>
      <dgm:spPr/>
      <dgm:t>
        <a:bodyPr/>
        <a:lstStyle/>
        <a:p>
          <a:r>
            <a:rPr lang="en-US">
              <a:latin typeface="Calibri" panose="020F0502020204030204" pitchFamily="34" charset="0"/>
              <a:cs typeface="Calibri" panose="020F0502020204030204" pitchFamily="34" charset="0"/>
            </a:rPr>
            <a:t>2024 outlook based on auction data: average </a:t>
          </a:r>
          <a:r>
            <a:rPr lang="en-US" b="1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USD 0.13/kWh</a:t>
          </a:r>
          <a:endParaRPr lang="en-US" b="1" dirty="0">
            <a:solidFill>
              <a:srgbClr val="0872A6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2A1E036B-B9C0-49E9-B46D-4F5496852D4A}" type="parTrans" cxnId="{1ADBEC88-7E3A-4024-BC39-B2FFD63B85C8}">
      <dgm:prSet/>
      <dgm:spPr/>
      <dgm:t>
        <a:bodyPr/>
        <a:lstStyle/>
        <a:p>
          <a:endParaRPr lang="en-US"/>
        </a:p>
      </dgm:t>
    </dgm:pt>
    <dgm:pt modelId="{9F5C1595-9DA9-4386-A55C-BD88D2BE6F6B}" type="sibTrans" cxnId="{1ADBEC88-7E3A-4024-BC39-B2FFD63B85C8}">
      <dgm:prSet/>
      <dgm:spPr/>
      <dgm:t>
        <a:bodyPr/>
        <a:lstStyle/>
        <a:p>
          <a:endParaRPr lang="en-US"/>
        </a:p>
      </dgm:t>
    </dgm:pt>
    <dgm:pt modelId="{E772661C-F13A-4443-A146-0DC0C5C375A1}">
      <dgm:prSet phldrT="[Text]"/>
      <dgm:spPr/>
      <dgm:t>
        <a:bodyPr/>
        <a:lstStyle/>
        <a:p>
          <a:endParaRPr lang="en-US" dirty="0"/>
        </a:p>
      </dgm:t>
    </dgm:pt>
    <dgm:pt modelId="{3AF81848-6A99-4029-96A3-AB33E63173BD}" type="parTrans" cxnId="{58579FA4-92F4-4234-88AA-87BD57FE3039}">
      <dgm:prSet/>
      <dgm:spPr/>
      <dgm:t>
        <a:bodyPr/>
        <a:lstStyle/>
        <a:p>
          <a:endParaRPr lang="en-US"/>
        </a:p>
      </dgm:t>
    </dgm:pt>
    <dgm:pt modelId="{08B9A5FE-B3FF-4013-BCA8-8B3F3F6863F0}" type="sibTrans" cxnId="{58579FA4-92F4-4234-88AA-87BD57FE3039}">
      <dgm:prSet/>
      <dgm:spPr/>
      <dgm:t>
        <a:bodyPr/>
        <a:lstStyle/>
        <a:p>
          <a:endParaRPr lang="en-US"/>
        </a:p>
      </dgm:t>
    </dgm:pt>
    <dgm:pt modelId="{BE5F0BB1-EC60-49DA-A861-4235DED1C6E3}">
      <dgm:prSet phldrT="[Text]"/>
      <dgm:spPr/>
      <dgm:t>
        <a:bodyPr/>
        <a:lstStyle/>
        <a:p>
          <a:endParaRPr lang="en-US" dirty="0"/>
        </a:p>
      </dgm:t>
    </dgm:pt>
    <dgm:pt modelId="{E9A9E336-B0E1-4D24-BE60-89F635B752C9}" type="parTrans" cxnId="{D0D0E245-9323-4594-B1B1-6794AD2F5C09}">
      <dgm:prSet/>
      <dgm:spPr/>
      <dgm:t>
        <a:bodyPr/>
        <a:lstStyle/>
        <a:p>
          <a:endParaRPr lang="en-US"/>
        </a:p>
      </dgm:t>
    </dgm:pt>
    <dgm:pt modelId="{EEDF07EF-9D87-4EBC-BC05-A7C513505270}" type="sibTrans" cxnId="{D0D0E245-9323-4594-B1B1-6794AD2F5C09}">
      <dgm:prSet/>
      <dgm:spPr/>
      <dgm:t>
        <a:bodyPr/>
        <a:lstStyle/>
        <a:p>
          <a:endParaRPr lang="en-US"/>
        </a:p>
      </dgm:t>
    </dgm:pt>
    <dgm:pt modelId="{7FB8EE8C-49E3-4DC4-A30F-E8545247544B}">
      <dgm:prSet phldrT="[Text]"/>
      <dgm:spPr/>
      <dgm:t>
        <a:bodyPr/>
        <a:lstStyle/>
        <a:p>
          <a: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  <a:t>EU Offshore strategy </a:t>
          </a:r>
          <a:r>
            <a:rPr lang="en-US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~ 300 GW </a:t>
          </a:r>
          <a: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  <a:t>in 2050</a:t>
          </a:r>
          <a:b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DB3556B-4E49-437A-A43E-1427469F841C}" type="parTrans" cxnId="{01F3F18C-BB43-474F-82C8-2C35EDFEF037}">
      <dgm:prSet/>
      <dgm:spPr/>
      <dgm:t>
        <a:bodyPr/>
        <a:lstStyle/>
        <a:p>
          <a:endParaRPr lang="en-US"/>
        </a:p>
      </dgm:t>
    </dgm:pt>
    <dgm:pt modelId="{C11807FA-C497-4487-9FAB-5A8181CB08CA}" type="sibTrans" cxnId="{01F3F18C-BB43-474F-82C8-2C35EDFEF037}">
      <dgm:prSet/>
      <dgm:spPr/>
      <dgm:t>
        <a:bodyPr/>
        <a:lstStyle/>
        <a:p>
          <a:endParaRPr lang="en-US"/>
        </a:p>
      </dgm:t>
    </dgm:pt>
    <dgm:pt modelId="{A3FEDC95-98C1-4875-981C-67D627E389DD}">
      <dgm:prSet phldrT="[Text]"/>
      <dgm:spPr/>
      <dgm:t>
        <a:bodyPr/>
        <a:lstStyle/>
        <a:p>
          <a: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  <a:t>India: </a:t>
          </a:r>
          <a:r>
            <a:rPr lang="en-US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30 GW </a:t>
          </a:r>
          <a: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  <a:t>in 2030</a:t>
          </a:r>
          <a:b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398ECD5-C815-4448-82C8-DFDC99ECD80E}" type="parTrans" cxnId="{B9292949-767C-4F68-A048-4AA1D32FE56B}">
      <dgm:prSet/>
      <dgm:spPr/>
      <dgm:t>
        <a:bodyPr/>
        <a:lstStyle/>
        <a:p>
          <a:endParaRPr lang="en-US"/>
        </a:p>
      </dgm:t>
    </dgm:pt>
    <dgm:pt modelId="{CF7D8C5F-F6F0-4F39-B805-BD87C78B2AFC}" type="sibTrans" cxnId="{B9292949-767C-4F68-A048-4AA1D32FE56B}">
      <dgm:prSet/>
      <dgm:spPr/>
      <dgm:t>
        <a:bodyPr/>
        <a:lstStyle/>
        <a:p>
          <a:endParaRPr lang="en-US"/>
        </a:p>
      </dgm:t>
    </dgm:pt>
    <dgm:pt modelId="{0A4BF51D-9A3F-4F3A-B9F4-7D4383CFB122}">
      <dgm:prSet phldrT="[Text]"/>
      <dgm:spPr/>
      <dgm:t>
        <a:bodyPr/>
        <a:lstStyle/>
        <a:p>
          <a: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  <a:t>China plan for a </a:t>
          </a:r>
          <a:r>
            <a:rPr lang="en-US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50 GW</a:t>
          </a:r>
          <a: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  <a:t> wind farm by 2030 in Fujian province</a:t>
          </a:r>
          <a:b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1BD95C9-9DD2-46BD-972E-7D177E07B0CA}" type="parTrans" cxnId="{DC048AF4-4C9A-4521-AADE-6B80C0C3253D}">
      <dgm:prSet/>
      <dgm:spPr/>
      <dgm:t>
        <a:bodyPr/>
        <a:lstStyle/>
        <a:p>
          <a:endParaRPr lang="en-US"/>
        </a:p>
      </dgm:t>
    </dgm:pt>
    <dgm:pt modelId="{921FCC22-9D04-4A41-B294-F12E05DA491B}" type="sibTrans" cxnId="{DC048AF4-4C9A-4521-AADE-6B80C0C3253D}">
      <dgm:prSet/>
      <dgm:spPr/>
      <dgm:t>
        <a:bodyPr/>
        <a:lstStyle/>
        <a:p>
          <a:endParaRPr lang="en-US"/>
        </a:p>
      </dgm:t>
    </dgm:pt>
    <dgm:pt modelId="{0E4B7474-116C-469D-BC1C-08BA2F99523F}">
      <dgm:prSet phldrT="[Text]"/>
      <dgm:spPr/>
      <dgm:t>
        <a:bodyPr/>
        <a:lstStyle/>
        <a:p>
          <a: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  <a:t>Korea plan for a </a:t>
          </a:r>
          <a:r>
            <a:rPr lang="en-GB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6 GW </a:t>
          </a:r>
          <a:r>
            <a:rPr lang="en-GB" dirty="0">
              <a:latin typeface="Calibri" panose="020F0502020204030204" pitchFamily="34" charset="0"/>
              <a:cs typeface="Calibri" panose="020F0502020204030204" pitchFamily="34" charset="0"/>
            </a:rPr>
            <a:t>floating wind farm by 2030</a:t>
          </a:r>
          <a:br>
            <a:rPr lang="en-GB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DEF2BB2D-0F1F-4638-BAF4-3A57CCBCB7C3}" type="parTrans" cxnId="{BD1BC531-C08A-420F-9988-230EBFC19116}">
      <dgm:prSet/>
      <dgm:spPr/>
      <dgm:t>
        <a:bodyPr/>
        <a:lstStyle/>
        <a:p>
          <a:endParaRPr lang="en-US"/>
        </a:p>
      </dgm:t>
    </dgm:pt>
    <dgm:pt modelId="{F7AC059E-4DEA-4E69-B77B-CED6C20B3D4E}" type="sibTrans" cxnId="{BD1BC531-C08A-420F-9988-230EBFC19116}">
      <dgm:prSet/>
      <dgm:spPr/>
      <dgm:t>
        <a:bodyPr/>
        <a:lstStyle/>
        <a:p>
          <a:endParaRPr lang="en-US"/>
        </a:p>
      </dgm:t>
    </dgm:pt>
    <dgm:pt modelId="{D4225D30-F3E8-478A-B35E-EFFDE6CEC5FD}">
      <dgm:prSet phldrT="[Text]"/>
      <dgm:spPr/>
      <dgm:t>
        <a:bodyPr/>
        <a:lstStyle/>
        <a:p>
          <a: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  <a:t>Japan: </a:t>
          </a:r>
          <a:r>
            <a:rPr lang="en-US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45 GW </a:t>
          </a:r>
          <a: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  <a:t>by 2040</a:t>
          </a:r>
          <a:b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F2F8D25-F503-44A4-A22C-74779FF0B923}" type="parTrans" cxnId="{95C05A19-F24E-443B-B43F-071C11A7711C}">
      <dgm:prSet/>
      <dgm:spPr/>
      <dgm:t>
        <a:bodyPr/>
        <a:lstStyle/>
        <a:p>
          <a:endParaRPr lang="en-US"/>
        </a:p>
      </dgm:t>
    </dgm:pt>
    <dgm:pt modelId="{51CD78F0-23C1-4140-9149-479025848797}" type="sibTrans" cxnId="{95C05A19-F24E-443B-B43F-071C11A7711C}">
      <dgm:prSet/>
      <dgm:spPr/>
      <dgm:t>
        <a:bodyPr/>
        <a:lstStyle/>
        <a:p>
          <a:endParaRPr lang="en-US"/>
        </a:p>
      </dgm:t>
    </dgm:pt>
    <dgm:pt modelId="{9EEB5029-5CBC-4F60-A5C0-11D6DF02B6E3}">
      <dgm:prSet phldrT="[Text]"/>
      <dgm:spPr/>
      <dgm:t>
        <a:bodyPr/>
        <a:lstStyle/>
        <a:p>
          <a:r>
            <a:rPr lang="en-US">
              <a:latin typeface="Calibri" panose="020F0502020204030204" pitchFamily="34" charset="0"/>
              <a:cs typeface="Calibri" panose="020F0502020204030204" pitchFamily="34" charset="0"/>
            </a:rPr>
            <a:t>USA: </a:t>
          </a:r>
          <a:r>
            <a:rPr lang="en-US" b="0" i="0">
              <a:latin typeface="Calibri" panose="020F0502020204030204" pitchFamily="34" charset="0"/>
              <a:cs typeface="Calibri" panose="020F0502020204030204" pitchFamily="34" charset="0"/>
            </a:rPr>
            <a:t>Vineyard Wind </a:t>
          </a:r>
          <a:r>
            <a:rPr lang="en-US" b="1" i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800 MW </a:t>
          </a:r>
          <a:r>
            <a:rPr lang="en-US" b="0" i="0">
              <a:latin typeface="Calibri" panose="020F0502020204030204" pitchFamily="34" charset="0"/>
              <a:cs typeface="Calibri" panose="020F0502020204030204" pitchFamily="34" charset="0"/>
            </a:rPr>
            <a:t>project</a:t>
          </a:r>
          <a:endParaRPr lang="en-US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2E93D3B-5EAC-4C08-B17B-B688955F01D0}" type="parTrans" cxnId="{7A0289F1-692F-4FEF-AEB8-5465014A1DF7}">
      <dgm:prSet/>
      <dgm:spPr/>
      <dgm:t>
        <a:bodyPr/>
        <a:lstStyle/>
        <a:p>
          <a:endParaRPr lang="en-US"/>
        </a:p>
      </dgm:t>
    </dgm:pt>
    <dgm:pt modelId="{76CB81C5-45DF-4DDF-8DA3-537D1E01BA60}" type="sibTrans" cxnId="{7A0289F1-692F-4FEF-AEB8-5465014A1DF7}">
      <dgm:prSet/>
      <dgm:spPr/>
      <dgm:t>
        <a:bodyPr/>
        <a:lstStyle/>
        <a:p>
          <a:endParaRPr lang="en-US"/>
        </a:p>
      </dgm:t>
    </dgm:pt>
    <dgm:pt modelId="{7B33DA9D-6266-49EB-A99E-B131393C1077}">
      <dgm:prSet phldrT="[Text]" custT="1"/>
      <dgm:spPr/>
      <dgm:t>
        <a:bodyPr/>
        <a:lstStyle/>
        <a:p>
          <a:r>
            <a:rPr lang="en-US" sz="1600">
              <a:latin typeface="Calibri" panose="020F0502020204030204" pitchFamily="34" charset="0"/>
              <a:cs typeface="Calibri" panose="020F0502020204030204" pitchFamily="34" charset="0"/>
            </a:rPr>
            <a:t>Global installed capacity in 2020: </a:t>
          </a:r>
          <a:r>
            <a:rPr lang="en-US" sz="1600" b="1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34 GW</a:t>
          </a:r>
          <a:br>
            <a:rPr lang="en-US" sz="1600" b="1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b="1" dirty="0">
            <a:solidFill>
              <a:srgbClr val="0872A6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CD3B3BE-E554-4CD0-87F7-8E1E26A348DD}" type="parTrans" cxnId="{EDD6D713-1708-4AB5-8BCB-2EDF7145BE87}">
      <dgm:prSet/>
      <dgm:spPr/>
      <dgm:t>
        <a:bodyPr/>
        <a:lstStyle/>
        <a:p>
          <a:endParaRPr lang="en-US"/>
        </a:p>
      </dgm:t>
    </dgm:pt>
    <dgm:pt modelId="{242A2D8A-868D-4F6F-ADEE-ADA524FAF316}" type="sibTrans" cxnId="{EDD6D713-1708-4AB5-8BCB-2EDF7145BE87}">
      <dgm:prSet/>
      <dgm:spPr/>
      <dgm:t>
        <a:bodyPr/>
        <a:lstStyle/>
        <a:p>
          <a:endParaRPr lang="en-US"/>
        </a:p>
      </dgm:t>
    </dgm:pt>
    <dgm:pt modelId="{57139CC9-D2C9-4A3A-92E1-7617617F7DDE}">
      <dgm:prSet phldrT="[Text]" custT="1"/>
      <dgm:spPr/>
      <dgm:t>
        <a:bodyPr/>
        <a:lstStyle/>
        <a:p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Capacity factor: </a:t>
          </a:r>
          <a:r>
            <a:rPr lang="en-US" sz="1600" dirty="0" err="1">
              <a:latin typeface="Calibri" panose="020F0502020204030204" pitchFamily="34" charset="0"/>
              <a:cs typeface="Calibri" panose="020F0502020204030204" pitchFamily="34" charset="0"/>
            </a:rPr>
            <a:t>Hywind</a:t>
          </a:r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&gt; 50%</a:t>
          </a:r>
        </a:p>
      </dgm:t>
    </dgm:pt>
    <dgm:pt modelId="{97275F0C-E099-4103-B870-35DA51F5955D}" type="parTrans" cxnId="{F858154A-7149-4A3A-A0E3-38DB6126B942}">
      <dgm:prSet/>
      <dgm:spPr/>
      <dgm:t>
        <a:bodyPr/>
        <a:lstStyle/>
        <a:p>
          <a:endParaRPr lang="en-US"/>
        </a:p>
      </dgm:t>
    </dgm:pt>
    <dgm:pt modelId="{C0E3C1D6-5D23-4C6C-B960-95842422DA58}" type="sibTrans" cxnId="{F858154A-7149-4A3A-A0E3-38DB6126B942}">
      <dgm:prSet/>
      <dgm:spPr/>
      <dgm:t>
        <a:bodyPr/>
        <a:lstStyle/>
        <a:p>
          <a:endParaRPr lang="en-US"/>
        </a:p>
      </dgm:t>
    </dgm:pt>
    <dgm:pt modelId="{BFB75B7B-5042-42A9-9DEB-A4AC13E2B274}" type="pres">
      <dgm:prSet presAssocID="{64D61782-E54C-4900-8AC0-5F02064C78C2}" presName="linearFlow" presStyleCnt="0">
        <dgm:presLayoutVars>
          <dgm:dir/>
          <dgm:animLvl val="lvl"/>
          <dgm:resizeHandles/>
        </dgm:presLayoutVars>
      </dgm:prSet>
      <dgm:spPr/>
    </dgm:pt>
    <dgm:pt modelId="{BF2EE389-56C3-4642-8EB9-9FAD5A99D887}" type="pres">
      <dgm:prSet presAssocID="{AA88702B-C180-47AF-8E74-9388484113E5}" presName="compositeNode" presStyleCnt="0">
        <dgm:presLayoutVars>
          <dgm:bulletEnabled val="1"/>
        </dgm:presLayoutVars>
      </dgm:prSet>
      <dgm:spPr/>
    </dgm:pt>
    <dgm:pt modelId="{45333189-541A-4F30-AF92-30523A9ECFC3}" type="pres">
      <dgm:prSet presAssocID="{AA88702B-C180-47AF-8E74-9388484113E5}" presName="image" presStyleLbl="fgImgPlace1" presStyleIdx="0" presStyleCnt="4"/>
      <dgm:spPr>
        <a:blipFill>
          <a:blip xmlns:r="http://schemas.openxmlformats.org/officeDocument/2006/relationships" r:embed="rId1"/>
          <a:srcRect/>
          <a:stretch>
            <a:fillRect/>
          </a:stretch>
        </a:blipFill>
      </dgm:spPr>
    </dgm:pt>
    <dgm:pt modelId="{F73D252C-6763-4D1F-B4D1-BFABA90E94F1}" type="pres">
      <dgm:prSet presAssocID="{AA88702B-C180-47AF-8E74-9388484113E5}" presName="childNode" presStyleLbl="node1" presStyleIdx="0" presStyleCnt="4" custScaleX="119616">
        <dgm:presLayoutVars>
          <dgm:bulletEnabled val="1"/>
        </dgm:presLayoutVars>
      </dgm:prSet>
      <dgm:spPr/>
    </dgm:pt>
    <dgm:pt modelId="{E651355A-06CE-4C67-B0DC-42A328431529}" type="pres">
      <dgm:prSet presAssocID="{AA88702B-C180-47AF-8E74-9388484113E5}" presName="parentNode" presStyleLbl="revTx" presStyleIdx="0" presStyleCnt="4">
        <dgm:presLayoutVars>
          <dgm:chMax val="0"/>
          <dgm:bulletEnabled val="1"/>
        </dgm:presLayoutVars>
      </dgm:prSet>
      <dgm:spPr/>
    </dgm:pt>
    <dgm:pt modelId="{61689C41-3711-4CD3-9B1A-9A81F882E05A}" type="pres">
      <dgm:prSet presAssocID="{CCA68464-9CBF-4228-AF05-BDB2FBA6FBE7}" presName="sibTrans" presStyleCnt="0"/>
      <dgm:spPr/>
    </dgm:pt>
    <dgm:pt modelId="{EA4BCDFE-25DF-432E-817C-37667F63AE40}" type="pres">
      <dgm:prSet presAssocID="{AE3D05B7-06C1-4DD8-8F8A-AC27922142D9}" presName="compositeNode" presStyleCnt="0">
        <dgm:presLayoutVars>
          <dgm:bulletEnabled val="1"/>
        </dgm:presLayoutVars>
      </dgm:prSet>
      <dgm:spPr/>
    </dgm:pt>
    <dgm:pt modelId="{B80678F1-1DC4-4E9F-A5C4-C726A9FACAA7}" type="pres">
      <dgm:prSet presAssocID="{AE3D05B7-06C1-4DD8-8F8A-AC27922142D9}" presName="image" presStyleLbl="fgImgPlace1" presStyleIdx="1" presStyleCnt="4"/>
      <dgm:spPr>
        <a:blipFill>
          <a:blip xmlns:r="http://schemas.openxmlformats.org/officeDocument/2006/relationships" r:embed="rId2"/>
          <a:srcRect/>
          <a:stretch>
            <a:fillRect/>
          </a:stretch>
        </a:blipFill>
      </dgm:spPr>
    </dgm:pt>
    <dgm:pt modelId="{77143358-F92B-45A6-98DD-A63805EFDC17}" type="pres">
      <dgm:prSet presAssocID="{AE3D05B7-06C1-4DD8-8F8A-AC27922142D9}" presName="childNode" presStyleLbl="node1" presStyleIdx="1" presStyleCnt="4" custScaleX="119616">
        <dgm:presLayoutVars>
          <dgm:bulletEnabled val="1"/>
        </dgm:presLayoutVars>
      </dgm:prSet>
      <dgm:spPr/>
    </dgm:pt>
    <dgm:pt modelId="{C02DB932-18F6-4FDC-BAD0-CD022BCC635F}" type="pres">
      <dgm:prSet presAssocID="{AE3D05B7-06C1-4DD8-8F8A-AC27922142D9}" presName="parentNode" presStyleLbl="revTx" presStyleIdx="1" presStyleCnt="4">
        <dgm:presLayoutVars>
          <dgm:chMax val="0"/>
          <dgm:bulletEnabled val="1"/>
        </dgm:presLayoutVars>
      </dgm:prSet>
      <dgm:spPr/>
    </dgm:pt>
    <dgm:pt modelId="{7138DC9F-64EF-4669-BEC2-2A230E9D3C52}" type="pres">
      <dgm:prSet presAssocID="{271553B5-D0F0-48A6-87EE-687E101172F0}" presName="sibTrans" presStyleCnt="0"/>
      <dgm:spPr/>
    </dgm:pt>
    <dgm:pt modelId="{7A8928C3-EAA9-4343-86D6-7474E01EECC6}" type="pres">
      <dgm:prSet presAssocID="{E772661C-F13A-4443-A146-0DC0C5C375A1}" presName="compositeNode" presStyleCnt="0">
        <dgm:presLayoutVars>
          <dgm:bulletEnabled val="1"/>
        </dgm:presLayoutVars>
      </dgm:prSet>
      <dgm:spPr/>
    </dgm:pt>
    <dgm:pt modelId="{67B5ECA2-6AAF-4604-8D3A-07E06B9CDA56}" type="pres">
      <dgm:prSet presAssocID="{E772661C-F13A-4443-A146-0DC0C5C375A1}" presName="image" presStyleLbl="fgImgPlace1" presStyleIdx="2" presStyleCnt="4"/>
      <dgm:spPr>
        <a:blipFill>
          <a:blip xmlns:r="http://schemas.openxmlformats.org/officeDocument/2006/relationships" r:embed="rId3"/>
          <a:srcRect/>
          <a:stretch>
            <a:fillRect/>
          </a:stretch>
        </a:blipFill>
      </dgm:spPr>
    </dgm:pt>
    <dgm:pt modelId="{705B2960-5DBA-4490-B31E-33C44441E2C8}" type="pres">
      <dgm:prSet presAssocID="{E772661C-F13A-4443-A146-0DC0C5C375A1}" presName="childNode" presStyleLbl="node1" presStyleIdx="2" presStyleCnt="4" custScaleX="125735">
        <dgm:presLayoutVars>
          <dgm:bulletEnabled val="1"/>
        </dgm:presLayoutVars>
      </dgm:prSet>
      <dgm:spPr/>
    </dgm:pt>
    <dgm:pt modelId="{D7B49462-AAFF-460E-B7A4-9EA0EC12A709}" type="pres">
      <dgm:prSet presAssocID="{E772661C-F13A-4443-A146-0DC0C5C375A1}" presName="parentNode" presStyleLbl="revTx" presStyleIdx="2" presStyleCnt="4">
        <dgm:presLayoutVars>
          <dgm:chMax val="0"/>
          <dgm:bulletEnabled val="1"/>
        </dgm:presLayoutVars>
      </dgm:prSet>
      <dgm:spPr/>
    </dgm:pt>
    <dgm:pt modelId="{D922589E-05C2-4502-BDBB-D6EAC76C3135}" type="pres">
      <dgm:prSet presAssocID="{08B9A5FE-B3FF-4013-BCA8-8B3F3F6863F0}" presName="sibTrans" presStyleCnt="0"/>
      <dgm:spPr/>
    </dgm:pt>
    <dgm:pt modelId="{2B7E2364-6BFF-433E-B5D0-0306197A284F}" type="pres">
      <dgm:prSet presAssocID="{BE5F0BB1-EC60-49DA-A861-4235DED1C6E3}" presName="compositeNode" presStyleCnt="0">
        <dgm:presLayoutVars>
          <dgm:bulletEnabled val="1"/>
        </dgm:presLayoutVars>
      </dgm:prSet>
      <dgm:spPr/>
    </dgm:pt>
    <dgm:pt modelId="{873CC04C-48B2-4B85-8EC9-40612DE49D45}" type="pres">
      <dgm:prSet presAssocID="{BE5F0BB1-EC60-49DA-A861-4235DED1C6E3}" presName="image" presStyleLbl="fgImgPlace1" presStyleIdx="3" presStyleCnt="4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D0AFD08C-C28D-4B6E-BC73-D6D841C99D29}" type="pres">
      <dgm:prSet presAssocID="{BE5F0BB1-EC60-49DA-A861-4235DED1C6E3}" presName="childNode" presStyleLbl="node1" presStyleIdx="3" presStyleCnt="4" custScaleX="119616">
        <dgm:presLayoutVars>
          <dgm:bulletEnabled val="1"/>
        </dgm:presLayoutVars>
      </dgm:prSet>
      <dgm:spPr/>
    </dgm:pt>
    <dgm:pt modelId="{CC76BC62-32E0-4022-9E1C-0A2630E826A7}" type="pres">
      <dgm:prSet presAssocID="{BE5F0BB1-EC60-49DA-A861-4235DED1C6E3}" presName="parentNode" presStyleLbl="revTx" presStyleIdx="3" presStyleCnt="4">
        <dgm:presLayoutVars>
          <dgm:chMax val="0"/>
          <dgm:bulletEnabled val="1"/>
        </dgm:presLayoutVars>
      </dgm:prSet>
      <dgm:spPr/>
    </dgm:pt>
  </dgm:ptLst>
  <dgm:cxnLst>
    <dgm:cxn modelId="{5E9C7A04-F1C8-4C45-BB90-439C0403D5F2}" type="presOf" srcId="{76A6A0BD-B623-428E-85D4-D71E7E6B28F5}" destId="{77143358-F92B-45A6-98DD-A63805EFDC17}" srcOrd="0" destOrd="3" presId="urn:microsoft.com/office/officeart/2005/8/layout/hList2"/>
    <dgm:cxn modelId="{A5D6E505-2A77-4C15-9544-D683FD8473D2}" type="presOf" srcId="{AE3D05B7-06C1-4DD8-8F8A-AC27922142D9}" destId="{C02DB932-18F6-4FDC-BAD0-CD022BCC635F}" srcOrd="0" destOrd="0" presId="urn:microsoft.com/office/officeart/2005/8/layout/hList2"/>
    <dgm:cxn modelId="{E491E607-3A50-406B-A945-068334D5BFAF}" srcId="{64D61782-E54C-4900-8AC0-5F02064C78C2}" destId="{AE3D05B7-06C1-4DD8-8F8A-AC27922142D9}" srcOrd="1" destOrd="0" parTransId="{9E1405E8-BD0A-470C-ADF8-9FDA08DF3CB9}" sibTransId="{271553B5-D0F0-48A6-87EE-687E101172F0}"/>
    <dgm:cxn modelId="{B2662311-CD22-44EB-AECA-8E95BBC62C96}" srcId="{AE3D05B7-06C1-4DD8-8F8A-AC27922142D9}" destId="{331AE247-4E04-45B6-A5F2-B99BEA150912}" srcOrd="0" destOrd="0" parTransId="{A3743619-8325-46CC-93F1-4B39A3FFEE26}" sibTransId="{E38312A3-7D64-424B-B865-7B5B3CC7E004}"/>
    <dgm:cxn modelId="{8C97CD13-659D-482C-8ACE-F65DBEDF8399}" srcId="{AE3D05B7-06C1-4DD8-8F8A-AC27922142D9}" destId="{296B9103-4DF1-4D57-A66A-96A56CC7C9E5}" srcOrd="2" destOrd="0" parTransId="{72E23557-3B5D-4A3A-B347-4CEB4BF1937A}" sibTransId="{03527FC0-9F0F-4EF3-9EC1-3C307605E985}"/>
    <dgm:cxn modelId="{EDD6D713-1708-4AB5-8BCB-2EDF7145BE87}" srcId="{AA88702B-C180-47AF-8E74-9388484113E5}" destId="{7B33DA9D-6266-49EB-A99E-B131393C1077}" srcOrd="0" destOrd="0" parTransId="{FCD3B3BE-E554-4CD0-87F7-8E1E26A348DD}" sibTransId="{242A2D8A-868D-4F6F-ADEE-ADA524FAF316}"/>
    <dgm:cxn modelId="{32F3B514-D4EF-49C8-9797-3CBEFDF3481B}" srcId="{64D61782-E54C-4900-8AC0-5F02064C78C2}" destId="{AA88702B-C180-47AF-8E74-9388484113E5}" srcOrd="0" destOrd="0" parTransId="{B398DD24-1185-4152-9C59-5183A0F81508}" sibTransId="{CCA68464-9CBF-4228-AF05-BDB2FBA6FBE7}"/>
    <dgm:cxn modelId="{95C05A19-F24E-443B-B43F-071C11A7711C}" srcId="{BE5F0BB1-EC60-49DA-A861-4235DED1C6E3}" destId="{D4225D30-F3E8-478A-B35E-EFFDE6CEC5FD}" srcOrd="1" destOrd="0" parTransId="{EF2F8D25-F503-44A4-A22C-74779FF0B923}" sibTransId="{51CD78F0-23C1-4140-9149-479025848797}"/>
    <dgm:cxn modelId="{DF8CC919-C6DB-4323-B235-92DF71BEBA2F}" type="presOf" srcId="{06337BF3-E901-427E-82A1-96CDDB0DFC67}" destId="{705B2960-5DBA-4490-B31E-33C44441E2C8}" srcOrd="0" destOrd="5" presId="urn:microsoft.com/office/officeart/2005/8/layout/hList2"/>
    <dgm:cxn modelId="{3B7BEE1B-43C8-467A-A1A4-62BCD3057DBA}" type="presOf" srcId="{D50E7960-C4B7-4C68-A83E-29B0F17C6A5B}" destId="{F73D252C-6763-4D1F-B4D1-BFABA90E94F1}" srcOrd="0" destOrd="3" presId="urn:microsoft.com/office/officeart/2005/8/layout/hList2"/>
    <dgm:cxn modelId="{4006122A-A49A-4C1D-826D-918F20D1250F}" type="presOf" srcId="{9FB1CE08-AB41-413A-9574-22B6E9A6B541}" destId="{705B2960-5DBA-4490-B31E-33C44441E2C8}" srcOrd="0" destOrd="0" presId="urn:microsoft.com/office/officeart/2005/8/layout/hList2"/>
    <dgm:cxn modelId="{C477DA2D-CEC5-486E-AC33-264A6DC96D94}" srcId="{E772661C-F13A-4443-A146-0DC0C5C375A1}" destId="{0FD60082-37E6-4503-ABE8-C27213F7DDA0}" srcOrd="1" destOrd="0" parTransId="{9FDCA6E8-FA8F-4A83-A3CB-439E3AD0EE3E}" sibTransId="{CBA24F15-3CC0-4887-B7F4-9867BAA12E02}"/>
    <dgm:cxn modelId="{BD1BC531-C08A-420F-9988-230EBFC19116}" srcId="{BE5F0BB1-EC60-49DA-A861-4235DED1C6E3}" destId="{0E4B7474-116C-469D-BC1C-08BA2F99523F}" srcOrd="4" destOrd="0" parTransId="{DEF2BB2D-0F1F-4638-BAF4-3A57CCBCB7C3}" sibTransId="{F7AC059E-4DEA-4E69-B77B-CED6C20B3D4E}"/>
    <dgm:cxn modelId="{1F2D2434-2936-4C8E-83C0-566684C6BF0E}" type="presOf" srcId="{E772661C-F13A-4443-A146-0DC0C5C375A1}" destId="{D7B49462-AAFF-460E-B7A4-9EA0EC12A709}" srcOrd="0" destOrd="0" presId="urn:microsoft.com/office/officeart/2005/8/layout/hList2"/>
    <dgm:cxn modelId="{AFD79936-EDA6-406F-8684-4DB3C602C729}" type="presOf" srcId="{0A4BF51D-9A3F-4F3A-B9F4-7D4383CFB122}" destId="{D0AFD08C-C28D-4B6E-BC73-D6D841C99D29}" srcOrd="0" destOrd="3" presId="urn:microsoft.com/office/officeart/2005/8/layout/hList2"/>
    <dgm:cxn modelId="{06CF155F-805B-4701-80E2-A10205CAE22D}" srcId="{0FD60082-37E6-4503-ABE8-C27213F7DDA0}" destId="{F8DD00C0-9D2D-4234-AF3C-AD653E547057}" srcOrd="0" destOrd="0" parTransId="{C990C262-1D4A-462D-9827-582FE6E8B881}" sibTransId="{2C63A5E6-090E-4334-AC51-367E0782DBAB}"/>
    <dgm:cxn modelId="{AC745A63-81FF-4A5C-B8C2-CF5E438B4836}" type="presOf" srcId="{BE5F0BB1-EC60-49DA-A861-4235DED1C6E3}" destId="{CC76BC62-32E0-4022-9E1C-0A2630E826A7}" srcOrd="0" destOrd="0" presId="urn:microsoft.com/office/officeart/2005/8/layout/hList2"/>
    <dgm:cxn modelId="{6DF32144-BA0E-4C86-8181-1797F7B1B741}" type="presOf" srcId="{0E4B7474-116C-469D-BC1C-08BA2F99523F}" destId="{D0AFD08C-C28D-4B6E-BC73-D6D841C99D29}" srcOrd="0" destOrd="4" presId="urn:microsoft.com/office/officeart/2005/8/layout/hList2"/>
    <dgm:cxn modelId="{D0D0E245-9323-4594-B1B1-6794AD2F5C09}" srcId="{64D61782-E54C-4900-8AC0-5F02064C78C2}" destId="{BE5F0BB1-EC60-49DA-A861-4235DED1C6E3}" srcOrd="3" destOrd="0" parTransId="{E9A9E336-B0E1-4D24-BE60-89F635B752C9}" sibTransId="{EEDF07EF-9D87-4EBC-BC05-A7C513505270}"/>
    <dgm:cxn modelId="{D0476D47-0F8D-477D-8A3F-E4F38E7A4693}" type="presOf" srcId="{7B33DA9D-6266-49EB-A99E-B131393C1077}" destId="{F73D252C-6763-4D1F-B4D1-BFABA90E94F1}" srcOrd="0" destOrd="0" presId="urn:microsoft.com/office/officeart/2005/8/layout/hList2"/>
    <dgm:cxn modelId="{ED7A3848-E1B9-4097-AC4D-ADDF0996465D}" type="presOf" srcId="{F5C1749A-FCCD-47AA-B5DF-B6B8B3601876}" destId="{705B2960-5DBA-4490-B31E-33C44441E2C8}" srcOrd="0" destOrd="1" presId="urn:microsoft.com/office/officeart/2005/8/layout/hList2"/>
    <dgm:cxn modelId="{B9292949-767C-4F68-A048-4AA1D32FE56B}" srcId="{BE5F0BB1-EC60-49DA-A861-4235DED1C6E3}" destId="{A3FEDC95-98C1-4875-981C-67D627E389DD}" srcOrd="2" destOrd="0" parTransId="{F398ECD5-C815-4448-82C8-DFDC99ECD80E}" sibTransId="{CF7D8C5F-F6F0-4F39-B805-BD87C78B2AFC}"/>
    <dgm:cxn modelId="{6B83BF49-E904-482C-BEC3-76B452BE5FFA}" srcId="{9FB1CE08-AB41-413A-9574-22B6E9A6B541}" destId="{F5C1749A-FCCD-47AA-B5DF-B6B8B3601876}" srcOrd="0" destOrd="0" parTransId="{00BA2226-7946-4865-8D6E-2148F2000869}" sibTransId="{199BC01A-05FA-4AA4-9EB6-8979A79E5048}"/>
    <dgm:cxn modelId="{F858154A-7149-4A3A-A0E3-38DB6126B942}" srcId="{AA88702B-C180-47AF-8E74-9388484113E5}" destId="{57139CC9-D2C9-4A3A-92E1-7617617F7DDE}" srcOrd="5" destOrd="0" parTransId="{97275F0C-E099-4103-B870-35DA51F5955D}" sibTransId="{C0E3C1D6-5D23-4C6C-B960-95842422DA58}"/>
    <dgm:cxn modelId="{5F799B50-4264-42A6-9A8D-24AEB1022559}" type="presOf" srcId="{64D61782-E54C-4900-8AC0-5F02064C78C2}" destId="{BFB75B7B-5042-42A9-9DEB-A4AC13E2B274}" srcOrd="0" destOrd="0" presId="urn:microsoft.com/office/officeart/2005/8/layout/hList2"/>
    <dgm:cxn modelId="{1240E056-C4A3-4ACA-A2D2-3CEF2D4AA5AC}" type="presOf" srcId="{7FB8EE8C-49E3-4DC4-A30F-E8545247544B}" destId="{D0AFD08C-C28D-4B6E-BC73-D6D841C99D29}" srcOrd="0" destOrd="0" presId="urn:microsoft.com/office/officeart/2005/8/layout/hList2"/>
    <dgm:cxn modelId="{59A0C479-0C23-4520-A161-9C941B51BC5E}" srcId="{AA88702B-C180-47AF-8E74-9388484113E5}" destId="{D50E7960-C4B7-4C68-A83E-29B0F17C6A5B}" srcOrd="3" destOrd="0" parTransId="{756D1E0E-95F7-4ACF-B357-6CCEE2386CF0}" sibTransId="{7710361D-B9DE-43E5-9FC2-A18BAB956E3B}"/>
    <dgm:cxn modelId="{32AD5B80-3CC6-4DEA-87F5-0D5A4A8F790B}" type="presOf" srcId="{F8DD00C0-9D2D-4234-AF3C-AD653E547057}" destId="{705B2960-5DBA-4490-B31E-33C44441E2C8}" srcOrd="0" destOrd="4" presId="urn:microsoft.com/office/officeart/2005/8/layout/hList2"/>
    <dgm:cxn modelId="{9B507580-B798-41E3-9734-945CA6A18992}" srcId="{9FB1CE08-AB41-413A-9574-22B6E9A6B541}" destId="{6D16A08B-B9B6-42FD-96CD-42AB752F4170}" srcOrd="1" destOrd="0" parTransId="{D377438D-3EA1-46B3-9565-CD3E91D016AE}" sibTransId="{3A3F9F38-68DE-41B2-9081-581261A3F2F8}"/>
    <dgm:cxn modelId="{BCD26F87-5FAF-4727-B918-AC141B441358}" type="presOf" srcId="{57139CC9-D2C9-4A3A-92E1-7617617F7DDE}" destId="{F73D252C-6763-4D1F-B4D1-BFABA90E94F1}" srcOrd="0" destOrd="5" presId="urn:microsoft.com/office/officeart/2005/8/layout/hList2"/>
    <dgm:cxn modelId="{1ADBEC88-7E3A-4024-BC39-B2FFD63B85C8}" srcId="{0FD60082-37E6-4503-ABE8-C27213F7DDA0}" destId="{06337BF3-E901-427E-82A1-96CDDB0DFC67}" srcOrd="1" destOrd="0" parTransId="{2A1E036B-B9C0-49E9-B46D-4F5496852D4A}" sibTransId="{9F5C1595-9DA9-4386-A55C-BD88D2BE6F6B}"/>
    <dgm:cxn modelId="{01F3F18C-BB43-474F-82C8-2C35EDFEF037}" srcId="{BE5F0BB1-EC60-49DA-A861-4235DED1C6E3}" destId="{7FB8EE8C-49E3-4DC4-A30F-E8545247544B}" srcOrd="0" destOrd="0" parTransId="{EDB3556B-4E49-437A-A43E-1427469F841C}" sibTransId="{C11807FA-C497-4487-9FAB-5A8181CB08CA}"/>
    <dgm:cxn modelId="{5B184792-5D88-4A17-A65B-C0EED0D2CCC3}" type="presOf" srcId="{331AE247-4E04-45B6-A5F2-B99BEA150912}" destId="{77143358-F92B-45A6-98DD-A63805EFDC17}" srcOrd="0" destOrd="0" presId="urn:microsoft.com/office/officeart/2005/8/layout/hList2"/>
    <dgm:cxn modelId="{366EA89E-8AA3-4D26-AD87-422C3A8AB837}" srcId="{AA88702B-C180-47AF-8E74-9388484113E5}" destId="{C330BBC7-D0AC-4F26-8338-8B09957851B4}" srcOrd="4" destOrd="0" parTransId="{B42932DA-DAC4-451B-9EEC-8903F188E3E3}" sibTransId="{22C6CD76-26E2-4DA4-9256-4548C8F62E06}"/>
    <dgm:cxn modelId="{239B589F-1186-4080-8C97-30001FEC687B}" type="presOf" srcId="{296B9103-4DF1-4D57-A66A-96A56CC7C9E5}" destId="{77143358-F92B-45A6-98DD-A63805EFDC17}" srcOrd="0" destOrd="2" presId="urn:microsoft.com/office/officeart/2005/8/layout/hList2"/>
    <dgm:cxn modelId="{58579FA4-92F4-4234-88AA-87BD57FE3039}" srcId="{64D61782-E54C-4900-8AC0-5F02064C78C2}" destId="{E772661C-F13A-4443-A146-0DC0C5C375A1}" srcOrd="2" destOrd="0" parTransId="{3AF81848-6A99-4029-96A3-AB33E63173BD}" sibTransId="{08B9A5FE-B3FF-4013-BCA8-8B3F3F6863F0}"/>
    <dgm:cxn modelId="{CE51B5A6-6E6C-4F0B-8118-3064A037A659}" type="presOf" srcId="{A3FEDC95-98C1-4875-981C-67D627E389DD}" destId="{D0AFD08C-C28D-4B6E-BC73-D6D841C99D29}" srcOrd="0" destOrd="2" presId="urn:microsoft.com/office/officeart/2005/8/layout/hList2"/>
    <dgm:cxn modelId="{2DA9AAAB-1050-47B8-9473-D92B51AF4D82}" type="presOf" srcId="{C329C6BF-595F-4465-AD0E-3C0C2060388C}" destId="{F73D252C-6763-4D1F-B4D1-BFABA90E94F1}" srcOrd="0" destOrd="1" presId="urn:microsoft.com/office/officeart/2005/8/layout/hList2"/>
    <dgm:cxn modelId="{941C85B2-36F1-4299-8851-3BF4543C6B9C}" type="presOf" srcId="{9EEB5029-5CBC-4F60-A5C0-11D6DF02B6E3}" destId="{D0AFD08C-C28D-4B6E-BC73-D6D841C99D29}" srcOrd="0" destOrd="5" presId="urn:microsoft.com/office/officeart/2005/8/layout/hList2"/>
    <dgm:cxn modelId="{330BDDBD-79FB-43A0-AC4F-63CA74C146FA}" type="presOf" srcId="{6D16A08B-B9B6-42FD-96CD-42AB752F4170}" destId="{705B2960-5DBA-4490-B31E-33C44441E2C8}" srcOrd="0" destOrd="2" presId="urn:microsoft.com/office/officeart/2005/8/layout/hList2"/>
    <dgm:cxn modelId="{CCE60FBE-84F6-4938-B54E-F70FDC35E6F0}" srcId="{AE3D05B7-06C1-4DD8-8F8A-AC27922142D9}" destId="{591EBABC-1878-4C2D-A074-57B6491CEDD0}" srcOrd="1" destOrd="0" parTransId="{2AA93C64-E638-488F-A02D-107FC6021F1C}" sibTransId="{F45D6A4E-8D7F-4633-89BA-8040E5695CE2}"/>
    <dgm:cxn modelId="{E7D77DBE-E85D-4ACD-9A41-3217A21D051A}" type="presOf" srcId="{C330BBC7-D0AC-4F26-8338-8B09957851B4}" destId="{F73D252C-6763-4D1F-B4D1-BFABA90E94F1}" srcOrd="0" destOrd="4" presId="urn:microsoft.com/office/officeart/2005/8/layout/hList2"/>
    <dgm:cxn modelId="{6493A0C0-CDD8-4DD9-86AC-3415BE4B7C9E}" srcId="{AE3D05B7-06C1-4DD8-8F8A-AC27922142D9}" destId="{76A6A0BD-B623-428E-85D4-D71E7E6B28F5}" srcOrd="3" destOrd="0" parTransId="{A6FEF445-4F37-4BD9-900D-009EB0498ABA}" sibTransId="{4C913B95-7546-4385-9EB9-5835F61729CB}"/>
    <dgm:cxn modelId="{6530B2C2-3CFB-41D0-8920-FE7520670760}" type="presOf" srcId="{AA88702B-C180-47AF-8E74-9388484113E5}" destId="{E651355A-06CE-4C67-B0DC-42A328431529}" srcOrd="0" destOrd="0" presId="urn:microsoft.com/office/officeart/2005/8/layout/hList2"/>
    <dgm:cxn modelId="{E62C39D2-4225-4993-B920-7A11128CF29E}" srcId="{AA88702B-C180-47AF-8E74-9388484113E5}" destId="{4EB6DEC2-7540-4131-A465-D82F090F2BA6}" srcOrd="2" destOrd="0" parTransId="{D5423B3E-1BCB-418F-AD99-8DA38E29CE73}" sibTransId="{0CBE223F-0E28-43FE-AEDE-1B43FB063791}"/>
    <dgm:cxn modelId="{8FD063D6-2788-44D0-BB70-2277936A7F75}" srcId="{AA88702B-C180-47AF-8E74-9388484113E5}" destId="{C329C6BF-595F-4465-AD0E-3C0C2060388C}" srcOrd="1" destOrd="0" parTransId="{06271818-5C26-44B2-8663-846189834A0C}" sibTransId="{6322E975-BE4D-4A04-85AA-20262AD29F97}"/>
    <dgm:cxn modelId="{C54617E2-7EBF-4613-833D-B9B2A8702F08}" srcId="{E772661C-F13A-4443-A146-0DC0C5C375A1}" destId="{9FB1CE08-AB41-413A-9574-22B6E9A6B541}" srcOrd="0" destOrd="0" parTransId="{AB275852-B3AF-4491-8DA5-1B2951DAC4AD}" sibTransId="{11771FF4-9728-4FE8-9A04-DD55C8642C9B}"/>
    <dgm:cxn modelId="{7EC324ED-0963-4644-8518-055A1615CEE7}" type="presOf" srcId="{D4225D30-F3E8-478A-B35E-EFFDE6CEC5FD}" destId="{D0AFD08C-C28D-4B6E-BC73-D6D841C99D29}" srcOrd="0" destOrd="1" presId="urn:microsoft.com/office/officeart/2005/8/layout/hList2"/>
    <dgm:cxn modelId="{7A0289F1-692F-4FEF-AEB8-5465014A1DF7}" srcId="{BE5F0BB1-EC60-49DA-A861-4235DED1C6E3}" destId="{9EEB5029-5CBC-4F60-A5C0-11D6DF02B6E3}" srcOrd="5" destOrd="0" parTransId="{E2E93D3B-5EAC-4C08-B17B-B688955F01D0}" sibTransId="{76CB81C5-45DF-4DDF-8DA3-537D1E01BA60}"/>
    <dgm:cxn modelId="{E72566F4-0D58-4BD0-98F5-561F91674BCE}" type="presOf" srcId="{4EB6DEC2-7540-4131-A465-D82F090F2BA6}" destId="{F73D252C-6763-4D1F-B4D1-BFABA90E94F1}" srcOrd="0" destOrd="2" presId="urn:microsoft.com/office/officeart/2005/8/layout/hList2"/>
    <dgm:cxn modelId="{DC048AF4-4C9A-4521-AADE-6B80C0C3253D}" srcId="{BE5F0BB1-EC60-49DA-A861-4235DED1C6E3}" destId="{0A4BF51D-9A3F-4F3A-B9F4-7D4383CFB122}" srcOrd="3" destOrd="0" parTransId="{E1BD95C9-9DD2-46BD-972E-7D177E07B0CA}" sibTransId="{921FCC22-9D04-4A41-B294-F12E05DA491B}"/>
    <dgm:cxn modelId="{C17693F4-4458-4F68-9D4C-7CCC1263D958}" type="presOf" srcId="{591EBABC-1878-4C2D-A074-57B6491CEDD0}" destId="{77143358-F92B-45A6-98DD-A63805EFDC17}" srcOrd="0" destOrd="1" presId="urn:microsoft.com/office/officeart/2005/8/layout/hList2"/>
    <dgm:cxn modelId="{1B995DF7-9EDF-4D15-816C-C173A65BFA78}" type="presOf" srcId="{0FD60082-37E6-4503-ABE8-C27213F7DDA0}" destId="{705B2960-5DBA-4490-B31E-33C44441E2C8}" srcOrd="0" destOrd="3" presId="urn:microsoft.com/office/officeart/2005/8/layout/hList2"/>
    <dgm:cxn modelId="{C2AB7EB1-EE1D-4C53-B9F3-46B03A7EDD5E}" type="presParOf" srcId="{BFB75B7B-5042-42A9-9DEB-A4AC13E2B274}" destId="{BF2EE389-56C3-4642-8EB9-9FAD5A99D887}" srcOrd="0" destOrd="0" presId="urn:microsoft.com/office/officeart/2005/8/layout/hList2"/>
    <dgm:cxn modelId="{D8835EB1-1CFD-4304-8ADD-787597C2F886}" type="presParOf" srcId="{BF2EE389-56C3-4642-8EB9-9FAD5A99D887}" destId="{45333189-541A-4F30-AF92-30523A9ECFC3}" srcOrd="0" destOrd="0" presId="urn:microsoft.com/office/officeart/2005/8/layout/hList2"/>
    <dgm:cxn modelId="{9D474485-E39A-4108-B421-2F467DAA2F52}" type="presParOf" srcId="{BF2EE389-56C3-4642-8EB9-9FAD5A99D887}" destId="{F73D252C-6763-4D1F-B4D1-BFABA90E94F1}" srcOrd="1" destOrd="0" presId="urn:microsoft.com/office/officeart/2005/8/layout/hList2"/>
    <dgm:cxn modelId="{AC2E08D1-AA55-42CC-B65C-B3103B71CE0F}" type="presParOf" srcId="{BF2EE389-56C3-4642-8EB9-9FAD5A99D887}" destId="{E651355A-06CE-4C67-B0DC-42A328431529}" srcOrd="2" destOrd="0" presId="urn:microsoft.com/office/officeart/2005/8/layout/hList2"/>
    <dgm:cxn modelId="{F722BA67-6AB8-443D-B066-5816124C62C2}" type="presParOf" srcId="{BFB75B7B-5042-42A9-9DEB-A4AC13E2B274}" destId="{61689C41-3711-4CD3-9B1A-9A81F882E05A}" srcOrd="1" destOrd="0" presId="urn:microsoft.com/office/officeart/2005/8/layout/hList2"/>
    <dgm:cxn modelId="{497BC92E-A735-4C3F-847B-A80194C7D14B}" type="presParOf" srcId="{BFB75B7B-5042-42A9-9DEB-A4AC13E2B274}" destId="{EA4BCDFE-25DF-432E-817C-37667F63AE40}" srcOrd="2" destOrd="0" presId="urn:microsoft.com/office/officeart/2005/8/layout/hList2"/>
    <dgm:cxn modelId="{ACF467B8-6E2A-499B-A9C8-1CD3ECA4C36F}" type="presParOf" srcId="{EA4BCDFE-25DF-432E-817C-37667F63AE40}" destId="{B80678F1-1DC4-4E9F-A5C4-C726A9FACAA7}" srcOrd="0" destOrd="0" presId="urn:microsoft.com/office/officeart/2005/8/layout/hList2"/>
    <dgm:cxn modelId="{121D31D6-A99D-4629-B396-7B3F77BBAFC8}" type="presParOf" srcId="{EA4BCDFE-25DF-432E-817C-37667F63AE40}" destId="{77143358-F92B-45A6-98DD-A63805EFDC17}" srcOrd="1" destOrd="0" presId="urn:microsoft.com/office/officeart/2005/8/layout/hList2"/>
    <dgm:cxn modelId="{E4691854-E3FE-40FB-8894-860CFC4988BE}" type="presParOf" srcId="{EA4BCDFE-25DF-432E-817C-37667F63AE40}" destId="{C02DB932-18F6-4FDC-BAD0-CD022BCC635F}" srcOrd="2" destOrd="0" presId="urn:microsoft.com/office/officeart/2005/8/layout/hList2"/>
    <dgm:cxn modelId="{5870D9B9-9F37-49A2-9C73-6211E9722955}" type="presParOf" srcId="{BFB75B7B-5042-42A9-9DEB-A4AC13E2B274}" destId="{7138DC9F-64EF-4669-BEC2-2A230E9D3C52}" srcOrd="3" destOrd="0" presId="urn:microsoft.com/office/officeart/2005/8/layout/hList2"/>
    <dgm:cxn modelId="{E62EBE27-61C2-4861-82BB-4DC49C5F7167}" type="presParOf" srcId="{BFB75B7B-5042-42A9-9DEB-A4AC13E2B274}" destId="{7A8928C3-EAA9-4343-86D6-7474E01EECC6}" srcOrd="4" destOrd="0" presId="urn:microsoft.com/office/officeart/2005/8/layout/hList2"/>
    <dgm:cxn modelId="{8C059993-7F83-4C9A-A4E9-4F48C0A485D2}" type="presParOf" srcId="{7A8928C3-EAA9-4343-86D6-7474E01EECC6}" destId="{67B5ECA2-6AAF-4604-8D3A-07E06B9CDA56}" srcOrd="0" destOrd="0" presId="urn:microsoft.com/office/officeart/2005/8/layout/hList2"/>
    <dgm:cxn modelId="{31ACDCEE-AF37-4A6C-B3B4-10F7EA33C6A5}" type="presParOf" srcId="{7A8928C3-EAA9-4343-86D6-7474E01EECC6}" destId="{705B2960-5DBA-4490-B31E-33C44441E2C8}" srcOrd="1" destOrd="0" presId="urn:microsoft.com/office/officeart/2005/8/layout/hList2"/>
    <dgm:cxn modelId="{396B75C4-3C49-43B1-AB78-7429EDFA1484}" type="presParOf" srcId="{7A8928C3-EAA9-4343-86D6-7474E01EECC6}" destId="{D7B49462-AAFF-460E-B7A4-9EA0EC12A709}" srcOrd="2" destOrd="0" presId="urn:microsoft.com/office/officeart/2005/8/layout/hList2"/>
    <dgm:cxn modelId="{1F0E17F1-8AC4-4F32-A4C2-4E946BCDF131}" type="presParOf" srcId="{BFB75B7B-5042-42A9-9DEB-A4AC13E2B274}" destId="{D922589E-05C2-4502-BDBB-D6EAC76C3135}" srcOrd="5" destOrd="0" presId="urn:microsoft.com/office/officeart/2005/8/layout/hList2"/>
    <dgm:cxn modelId="{C585C4E3-B022-426B-B0B8-2AEA23F8FA7D}" type="presParOf" srcId="{BFB75B7B-5042-42A9-9DEB-A4AC13E2B274}" destId="{2B7E2364-6BFF-433E-B5D0-0306197A284F}" srcOrd="6" destOrd="0" presId="urn:microsoft.com/office/officeart/2005/8/layout/hList2"/>
    <dgm:cxn modelId="{8CC62F9E-1C86-4A34-9DC2-C2F41D7329E9}" type="presParOf" srcId="{2B7E2364-6BFF-433E-B5D0-0306197A284F}" destId="{873CC04C-48B2-4B85-8EC9-40612DE49D45}" srcOrd="0" destOrd="0" presId="urn:microsoft.com/office/officeart/2005/8/layout/hList2"/>
    <dgm:cxn modelId="{28D35B6F-A045-43DB-A2E0-7D6AC4019E90}" type="presParOf" srcId="{2B7E2364-6BFF-433E-B5D0-0306197A284F}" destId="{D0AFD08C-C28D-4B6E-BC73-D6D841C99D29}" srcOrd="1" destOrd="0" presId="urn:microsoft.com/office/officeart/2005/8/layout/hList2"/>
    <dgm:cxn modelId="{AAE2BCDE-6DD5-4EC9-AD80-6B5CD7E62804}" type="presParOf" srcId="{2B7E2364-6BFF-433E-B5D0-0306197A284F}" destId="{CC76BC62-32E0-4022-9E1C-0A2630E826A7}" srcOrd="2" destOrd="0" presId="urn:microsoft.com/office/officeart/2005/8/layout/hList2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4D61782-E54C-4900-8AC0-5F02064C78C2}" type="doc">
      <dgm:prSet loTypeId="urn:microsoft.com/office/officeart/2005/8/layout/hList2" loCatId="list" qsTypeId="urn:microsoft.com/office/officeart/2005/8/quickstyle/simple2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AA88702B-C180-47AF-8E74-9388484113E5}">
      <dgm:prSet phldrT="[Text]"/>
      <dgm:spPr/>
      <dgm:t>
        <a:bodyPr/>
        <a:lstStyle/>
        <a:p>
          <a:r>
            <a:rPr lang="en-US" b="1" dirty="0"/>
            <a:t> </a:t>
          </a:r>
        </a:p>
      </dgm:t>
    </dgm:pt>
    <dgm:pt modelId="{B398DD24-1185-4152-9C59-5183A0F81508}" type="parTrans" cxnId="{32F3B514-D4EF-49C8-9797-3CBEFDF3481B}">
      <dgm:prSet/>
      <dgm:spPr/>
      <dgm:t>
        <a:bodyPr/>
        <a:lstStyle/>
        <a:p>
          <a:endParaRPr lang="en-US"/>
        </a:p>
      </dgm:t>
    </dgm:pt>
    <dgm:pt modelId="{CCA68464-9CBF-4228-AF05-BDB2FBA6FBE7}" type="sibTrans" cxnId="{32F3B514-D4EF-49C8-9797-3CBEFDF3481B}">
      <dgm:prSet/>
      <dgm:spPr/>
      <dgm:t>
        <a:bodyPr/>
        <a:lstStyle/>
        <a:p>
          <a:endParaRPr lang="en-US"/>
        </a:p>
      </dgm:t>
    </dgm:pt>
    <dgm:pt modelId="{AE3D05B7-06C1-4DD8-8F8A-AC27922142D9}">
      <dgm:prSet phldrT="[Text]"/>
      <dgm:spPr/>
      <dgm:t>
        <a:bodyPr/>
        <a:lstStyle/>
        <a:p>
          <a:endParaRPr lang="en-US" b="1" dirty="0"/>
        </a:p>
      </dgm:t>
    </dgm:pt>
    <dgm:pt modelId="{9E1405E8-BD0A-470C-ADF8-9FDA08DF3CB9}" type="parTrans" cxnId="{E491E607-3A50-406B-A945-068334D5BFAF}">
      <dgm:prSet/>
      <dgm:spPr/>
      <dgm:t>
        <a:bodyPr/>
        <a:lstStyle/>
        <a:p>
          <a:endParaRPr lang="en-US"/>
        </a:p>
      </dgm:t>
    </dgm:pt>
    <dgm:pt modelId="{271553B5-D0F0-48A6-87EE-687E101172F0}" type="sibTrans" cxnId="{E491E607-3A50-406B-A945-068334D5BFAF}">
      <dgm:prSet/>
      <dgm:spPr/>
      <dgm:t>
        <a:bodyPr/>
        <a:lstStyle/>
        <a:p>
          <a:endParaRPr lang="en-US"/>
        </a:p>
      </dgm:t>
    </dgm:pt>
    <dgm:pt modelId="{331AE247-4E04-45B6-A5F2-B99BEA150912}">
      <dgm:prSet phldrT="[Text]" custT="1"/>
      <dgm:spPr>
        <a:ln>
          <a:solidFill>
            <a:srgbClr val="0872A6"/>
          </a:solidFill>
        </a:ln>
      </dgm:spPr>
      <dgm:t>
        <a:bodyPr/>
        <a:lstStyle/>
        <a:p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Global capacity: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70 GW </a:t>
          </a:r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by 2030 and more than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350 GW </a:t>
          </a:r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by 2050</a:t>
          </a:r>
          <a:b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3743619-8325-46CC-93F1-4B39A3FFEE26}" type="parTrans" cxnId="{B2662311-CD22-44EB-AECA-8E95BBC62C96}">
      <dgm:prSet/>
      <dgm:spPr/>
      <dgm:t>
        <a:bodyPr/>
        <a:lstStyle/>
        <a:p>
          <a:endParaRPr lang="en-US"/>
        </a:p>
      </dgm:t>
    </dgm:pt>
    <dgm:pt modelId="{E38312A3-7D64-424B-B865-7B5B3CC7E004}" type="sibTrans" cxnId="{B2662311-CD22-44EB-AECA-8E95BBC62C96}">
      <dgm:prSet/>
      <dgm:spPr/>
      <dgm:t>
        <a:bodyPr/>
        <a:lstStyle/>
        <a:p>
          <a:endParaRPr lang="en-US"/>
        </a:p>
      </dgm:t>
    </dgm:pt>
    <dgm:pt modelId="{9FB1CE08-AB41-413A-9574-22B6E9A6B541}">
      <dgm:prSet phldrT="[Text]" custT="1"/>
      <dgm:spPr>
        <a:ln>
          <a:solidFill>
            <a:srgbClr val="0872A6"/>
          </a:solidFill>
        </a:ln>
      </dgm:spPr>
      <dgm:t>
        <a:bodyPr/>
        <a:lstStyle/>
        <a:p>
          <a:r>
            <a:rPr lang="en-US" sz="1600" b="0" dirty="0">
              <a:latin typeface="Calibri" panose="020F0502020204030204" pitchFamily="34" charset="0"/>
              <a:cs typeface="Calibri" panose="020F0502020204030204" pitchFamily="34" charset="0"/>
            </a:rPr>
            <a:t>Tidal: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USD 0.20-0.45/kWh</a:t>
          </a:r>
          <a:b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b="1" dirty="0">
            <a:solidFill>
              <a:srgbClr val="0872A6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B275852-B3AF-4491-8DA5-1B2951DAC4AD}" type="parTrans" cxnId="{C54617E2-7EBF-4613-833D-B9B2A8702F08}">
      <dgm:prSet/>
      <dgm:spPr/>
      <dgm:t>
        <a:bodyPr/>
        <a:lstStyle/>
        <a:p>
          <a:endParaRPr lang="en-US"/>
        </a:p>
      </dgm:t>
    </dgm:pt>
    <dgm:pt modelId="{11771FF4-9728-4FE8-9A04-DD55C8642C9B}" type="sibTrans" cxnId="{C54617E2-7EBF-4613-833D-B9B2A8702F08}">
      <dgm:prSet/>
      <dgm:spPr/>
      <dgm:t>
        <a:bodyPr/>
        <a:lstStyle/>
        <a:p>
          <a:endParaRPr lang="en-US"/>
        </a:p>
      </dgm:t>
    </dgm:pt>
    <dgm:pt modelId="{E772661C-F13A-4443-A146-0DC0C5C375A1}">
      <dgm:prSet phldrT="[Text]"/>
      <dgm:spPr/>
      <dgm:t>
        <a:bodyPr/>
        <a:lstStyle/>
        <a:p>
          <a:endParaRPr lang="en-US" dirty="0"/>
        </a:p>
      </dgm:t>
    </dgm:pt>
    <dgm:pt modelId="{3AF81848-6A99-4029-96A3-AB33E63173BD}" type="parTrans" cxnId="{58579FA4-92F4-4234-88AA-87BD57FE3039}">
      <dgm:prSet/>
      <dgm:spPr/>
      <dgm:t>
        <a:bodyPr/>
        <a:lstStyle/>
        <a:p>
          <a:endParaRPr lang="en-US"/>
        </a:p>
      </dgm:t>
    </dgm:pt>
    <dgm:pt modelId="{08B9A5FE-B3FF-4013-BCA8-8B3F3F6863F0}" type="sibTrans" cxnId="{58579FA4-92F4-4234-88AA-87BD57FE3039}">
      <dgm:prSet/>
      <dgm:spPr/>
      <dgm:t>
        <a:bodyPr/>
        <a:lstStyle/>
        <a:p>
          <a:endParaRPr lang="en-US"/>
        </a:p>
      </dgm:t>
    </dgm:pt>
    <dgm:pt modelId="{BE5F0BB1-EC60-49DA-A861-4235DED1C6E3}">
      <dgm:prSet phldrT="[Text]"/>
      <dgm:spPr/>
      <dgm:t>
        <a:bodyPr/>
        <a:lstStyle/>
        <a:p>
          <a:endParaRPr lang="en-US" dirty="0"/>
        </a:p>
      </dgm:t>
    </dgm:pt>
    <dgm:pt modelId="{E9A9E336-B0E1-4D24-BE60-89F635B752C9}" type="parTrans" cxnId="{D0D0E245-9323-4594-B1B1-6794AD2F5C09}">
      <dgm:prSet/>
      <dgm:spPr/>
      <dgm:t>
        <a:bodyPr/>
        <a:lstStyle/>
        <a:p>
          <a:endParaRPr lang="en-US"/>
        </a:p>
      </dgm:t>
    </dgm:pt>
    <dgm:pt modelId="{EEDF07EF-9D87-4EBC-BC05-A7C513505270}" type="sibTrans" cxnId="{D0D0E245-9323-4594-B1B1-6794AD2F5C09}">
      <dgm:prSet/>
      <dgm:spPr/>
      <dgm:t>
        <a:bodyPr/>
        <a:lstStyle/>
        <a:p>
          <a:endParaRPr lang="en-US"/>
        </a:p>
      </dgm:t>
    </dgm:pt>
    <dgm:pt modelId="{7FB8EE8C-49E3-4DC4-A30F-E8545247544B}">
      <dgm:prSet phldrT="[Text]"/>
      <dgm:spPr>
        <a:ln>
          <a:solidFill>
            <a:srgbClr val="0872A6"/>
          </a:solidFill>
        </a:ln>
      </dgm:spPr>
      <dgm:t>
        <a:bodyPr/>
        <a:lstStyle/>
        <a:p>
          <a:r>
            <a:rPr lang="en-US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12</a:t>
          </a:r>
          <a: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  <a:t> countries pursuing </a:t>
          </a:r>
          <a:r>
            <a:rPr lang="en-US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tidal</a:t>
          </a:r>
          <a: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  <a:t> and </a:t>
          </a:r>
          <a:r>
            <a:rPr lang="en-US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wave energy</a:t>
          </a:r>
        </a:p>
      </dgm:t>
    </dgm:pt>
    <dgm:pt modelId="{EDB3556B-4E49-437A-A43E-1427469F841C}" type="parTrans" cxnId="{01F3F18C-BB43-474F-82C8-2C35EDFEF037}">
      <dgm:prSet/>
      <dgm:spPr/>
      <dgm:t>
        <a:bodyPr/>
        <a:lstStyle/>
        <a:p>
          <a:endParaRPr lang="en-US"/>
        </a:p>
      </dgm:t>
    </dgm:pt>
    <dgm:pt modelId="{C11807FA-C497-4487-9FAB-5A8181CB08CA}" type="sibTrans" cxnId="{01F3F18C-BB43-474F-82C8-2C35EDFEF037}">
      <dgm:prSet/>
      <dgm:spPr/>
      <dgm:t>
        <a:bodyPr/>
        <a:lstStyle/>
        <a:p>
          <a:endParaRPr lang="en-US"/>
        </a:p>
      </dgm:t>
    </dgm:pt>
    <dgm:pt modelId="{7B33DA9D-6266-49EB-A99E-B131393C1077}">
      <dgm:prSet phldrT="[Text]" custT="1"/>
      <dgm:spPr>
        <a:ln>
          <a:solidFill>
            <a:srgbClr val="0872A6"/>
          </a:solidFill>
        </a:ln>
      </dgm:spPr>
      <dgm:t>
        <a:bodyPr/>
        <a:lstStyle/>
        <a:p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Global installed capacity 2020: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535 MW</a:t>
          </a:r>
          <a:b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b="1" dirty="0">
            <a:solidFill>
              <a:srgbClr val="0872A6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CD3B3BE-E554-4CD0-87F7-8E1E26A348DD}" type="parTrans" cxnId="{EDD6D713-1708-4AB5-8BCB-2EDF7145BE87}">
      <dgm:prSet/>
      <dgm:spPr/>
      <dgm:t>
        <a:bodyPr/>
        <a:lstStyle/>
        <a:p>
          <a:endParaRPr lang="en-US"/>
        </a:p>
      </dgm:t>
    </dgm:pt>
    <dgm:pt modelId="{242A2D8A-868D-4F6F-ADEE-ADA524FAF316}" type="sibTrans" cxnId="{EDD6D713-1708-4AB5-8BCB-2EDF7145BE87}">
      <dgm:prSet/>
      <dgm:spPr/>
      <dgm:t>
        <a:bodyPr/>
        <a:lstStyle/>
        <a:p>
          <a:endParaRPr lang="en-US"/>
        </a:p>
      </dgm:t>
    </dgm:pt>
    <dgm:pt modelId="{F1602D1A-21DF-4F77-BD4C-7884BEACE690}">
      <dgm:prSet custT="1"/>
      <dgm:spPr>
        <a:ln>
          <a:solidFill>
            <a:srgbClr val="0872A6"/>
          </a:solidFill>
        </a:ln>
      </dgm:spPr>
      <dgm:t>
        <a:bodyPr/>
        <a:lstStyle/>
        <a:p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Tidal range dominates capacity but technology trend shifts towards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tidal stream </a:t>
          </a:r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and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wave energy</a:t>
          </a:r>
          <a:b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6B0C3A2-8648-469F-95ED-68C05CF73C40}" type="parTrans" cxnId="{30F16106-43DE-456B-BC04-13937C7DAD15}">
      <dgm:prSet/>
      <dgm:spPr/>
      <dgm:t>
        <a:bodyPr/>
        <a:lstStyle/>
        <a:p>
          <a:endParaRPr lang="en-US"/>
        </a:p>
      </dgm:t>
    </dgm:pt>
    <dgm:pt modelId="{49E542EE-BC75-41F7-8F1C-9A200844AC5C}" type="sibTrans" cxnId="{30F16106-43DE-456B-BC04-13937C7DAD15}">
      <dgm:prSet/>
      <dgm:spPr/>
      <dgm:t>
        <a:bodyPr/>
        <a:lstStyle/>
        <a:p>
          <a:endParaRPr lang="en-US"/>
        </a:p>
      </dgm:t>
    </dgm:pt>
    <dgm:pt modelId="{AE53EF0E-7305-498C-9ABB-2252C010EF26}">
      <dgm:prSet custT="1"/>
      <dgm:spPr>
        <a:ln>
          <a:solidFill>
            <a:srgbClr val="0872A6"/>
          </a:solidFill>
        </a:ln>
      </dgm:spPr>
      <dgm:t>
        <a:bodyPr/>
        <a:lstStyle/>
        <a:p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Leading region: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31</a:t>
          </a:r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 countries with projects in pipeline, mostly in EU</a:t>
          </a:r>
        </a:p>
      </dgm:t>
    </dgm:pt>
    <dgm:pt modelId="{F9BF6870-AF62-482D-A474-CB0510E95970}" type="parTrans" cxnId="{39C72DC4-A444-4BE9-96DA-5BE458B515CD}">
      <dgm:prSet/>
      <dgm:spPr/>
      <dgm:t>
        <a:bodyPr/>
        <a:lstStyle/>
        <a:p>
          <a:endParaRPr lang="en-US"/>
        </a:p>
      </dgm:t>
    </dgm:pt>
    <dgm:pt modelId="{8FE38DAC-42DD-407F-A967-F6AD61171416}" type="sibTrans" cxnId="{39C72DC4-A444-4BE9-96DA-5BE458B515CD}">
      <dgm:prSet/>
      <dgm:spPr/>
      <dgm:t>
        <a:bodyPr/>
        <a:lstStyle/>
        <a:p>
          <a:endParaRPr lang="en-US"/>
        </a:p>
      </dgm:t>
    </dgm:pt>
    <dgm:pt modelId="{802CB779-F916-44FF-B4C0-901070465DF4}">
      <dgm:prSet custT="1"/>
      <dgm:spPr>
        <a:ln>
          <a:solidFill>
            <a:srgbClr val="0872A6"/>
          </a:solidFill>
        </a:ln>
      </dgm:spPr>
      <dgm:t>
        <a:bodyPr/>
        <a:lstStyle/>
        <a:p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Needed annual installations: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~ 12 GW </a:t>
          </a:r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per year </a:t>
          </a:r>
          <a:b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1F80CC-18EC-45F4-8699-30AB3B15F640}" type="parTrans" cxnId="{A28B3D27-0DB4-41DF-8468-C12E4D2A18D8}">
      <dgm:prSet/>
      <dgm:spPr/>
      <dgm:t>
        <a:bodyPr/>
        <a:lstStyle/>
        <a:p>
          <a:endParaRPr lang="en-US"/>
        </a:p>
      </dgm:t>
    </dgm:pt>
    <dgm:pt modelId="{ABB30317-E2C4-4386-84C0-BF2141FFB6EC}" type="sibTrans" cxnId="{A28B3D27-0DB4-41DF-8468-C12E4D2A18D8}">
      <dgm:prSet/>
      <dgm:spPr/>
      <dgm:t>
        <a:bodyPr/>
        <a:lstStyle/>
        <a:p>
          <a:endParaRPr lang="en-US"/>
        </a:p>
      </dgm:t>
    </dgm:pt>
    <dgm:pt modelId="{DEC3142C-9BCF-4A93-B8BC-2DA7E631824B}">
      <dgm:prSet custT="1"/>
      <dgm:spPr>
        <a:ln>
          <a:solidFill>
            <a:srgbClr val="0872A6"/>
          </a:solidFill>
        </a:ln>
      </dgm:spPr>
      <dgm:t>
        <a:bodyPr/>
        <a:lstStyle/>
        <a:p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Needed annual investments: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~ 35 </a:t>
          </a:r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to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45 USD billions </a:t>
          </a:r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per year</a:t>
          </a:r>
        </a:p>
      </dgm:t>
    </dgm:pt>
    <dgm:pt modelId="{0F077A79-AE8A-4F6D-B534-7B0B2AA743CD}" type="parTrans" cxnId="{68514290-AA26-4FE6-847F-E26EDCBFEB4A}">
      <dgm:prSet/>
      <dgm:spPr/>
      <dgm:t>
        <a:bodyPr/>
        <a:lstStyle/>
        <a:p>
          <a:endParaRPr lang="en-US"/>
        </a:p>
      </dgm:t>
    </dgm:pt>
    <dgm:pt modelId="{2EFC4F03-AE92-48BA-8D0C-E50A78F298F1}" type="sibTrans" cxnId="{68514290-AA26-4FE6-847F-E26EDCBFEB4A}">
      <dgm:prSet/>
      <dgm:spPr/>
      <dgm:t>
        <a:bodyPr/>
        <a:lstStyle/>
        <a:p>
          <a:endParaRPr lang="en-US"/>
        </a:p>
      </dgm:t>
    </dgm:pt>
    <dgm:pt modelId="{8650D340-9E64-4157-A841-468AB3278138}">
      <dgm:prSet custT="1"/>
      <dgm:spPr>
        <a:ln>
          <a:solidFill>
            <a:srgbClr val="0872A6"/>
          </a:solidFill>
        </a:ln>
      </dgm:spPr>
      <dgm:t>
        <a:bodyPr/>
        <a:lstStyle/>
        <a:p>
          <a:r>
            <a:rPr lang="en-US" sz="1600" b="0" dirty="0">
              <a:latin typeface="Calibri" panose="020F0502020204030204" pitchFamily="34" charset="0"/>
              <a:cs typeface="Calibri" panose="020F0502020204030204" pitchFamily="34" charset="0"/>
            </a:rPr>
            <a:t>Wave: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USD 0.30-0.55/kWh</a:t>
          </a:r>
        </a:p>
      </dgm:t>
    </dgm:pt>
    <dgm:pt modelId="{E242AC12-A41B-483F-9C58-74D3E88D0B19}" type="parTrans" cxnId="{426D96F4-076E-4212-8E43-FE1BC62F7B5E}">
      <dgm:prSet/>
      <dgm:spPr/>
      <dgm:t>
        <a:bodyPr/>
        <a:lstStyle/>
        <a:p>
          <a:endParaRPr lang="en-US"/>
        </a:p>
      </dgm:t>
    </dgm:pt>
    <dgm:pt modelId="{84C69B4D-76F2-447B-BED9-0CBD6D6F06C7}" type="sibTrans" cxnId="{426D96F4-076E-4212-8E43-FE1BC62F7B5E}">
      <dgm:prSet/>
      <dgm:spPr/>
      <dgm:t>
        <a:bodyPr/>
        <a:lstStyle/>
        <a:p>
          <a:endParaRPr lang="en-US"/>
        </a:p>
      </dgm:t>
    </dgm:pt>
    <dgm:pt modelId="{499B7923-A47A-4A55-9ACA-70BA6BF5399D}">
      <dgm:prSet custT="1"/>
      <dgm:spPr>
        <a:ln>
          <a:solidFill>
            <a:srgbClr val="0872A6"/>
          </a:solidFill>
        </a:ln>
      </dgm:spPr>
      <dgm:t>
        <a:bodyPr/>
        <a:lstStyle/>
        <a:p>
          <a:endParaRPr lang="en-US" sz="16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46EF211-6346-4253-969D-39014A2EFB5A}" type="parTrans" cxnId="{28131524-2DF0-4DA6-A8F6-C2B2EF3727F2}">
      <dgm:prSet/>
      <dgm:spPr/>
      <dgm:t>
        <a:bodyPr/>
        <a:lstStyle/>
        <a:p>
          <a:endParaRPr lang="en-US"/>
        </a:p>
      </dgm:t>
    </dgm:pt>
    <dgm:pt modelId="{D0765D71-B077-4FCB-B611-2A33FF5F199E}" type="sibTrans" cxnId="{28131524-2DF0-4DA6-A8F6-C2B2EF3727F2}">
      <dgm:prSet/>
      <dgm:spPr/>
      <dgm:t>
        <a:bodyPr/>
        <a:lstStyle/>
        <a:p>
          <a:endParaRPr lang="en-US"/>
        </a:p>
      </dgm:t>
    </dgm:pt>
    <dgm:pt modelId="{E5E79853-5C73-4A48-8324-536767777BFC}">
      <dgm:prSet custT="1"/>
      <dgm:spPr>
        <a:ln>
          <a:solidFill>
            <a:srgbClr val="0872A6"/>
          </a:solidFill>
        </a:ln>
      </dgm:spPr>
      <dgm:t>
        <a:bodyPr/>
        <a:lstStyle/>
        <a:p>
          <a:r>
            <a:rPr lang="en-US" sz="1600" b="0" dirty="0">
              <a:latin typeface="Calibri" panose="020F0502020204030204" pitchFamily="34" charset="0"/>
              <a:cs typeface="Calibri" panose="020F0502020204030204" pitchFamily="34" charset="0"/>
            </a:rPr>
            <a:t>2030: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USD 0.11/kWh</a:t>
          </a:r>
        </a:p>
      </dgm:t>
    </dgm:pt>
    <dgm:pt modelId="{0E2131B9-90E1-49C0-A72B-DDC00272A095}" type="parTrans" cxnId="{BD795CED-0155-450F-9E49-D01B75853FD1}">
      <dgm:prSet/>
      <dgm:spPr/>
      <dgm:t>
        <a:bodyPr/>
        <a:lstStyle/>
        <a:p>
          <a:endParaRPr lang="en-US"/>
        </a:p>
      </dgm:t>
    </dgm:pt>
    <dgm:pt modelId="{FAAC9810-D68D-4044-9597-3CB3C599BA27}" type="sibTrans" cxnId="{BD795CED-0155-450F-9E49-D01B75853FD1}">
      <dgm:prSet/>
      <dgm:spPr/>
      <dgm:t>
        <a:bodyPr/>
        <a:lstStyle/>
        <a:p>
          <a:endParaRPr lang="en-US"/>
        </a:p>
      </dgm:t>
    </dgm:pt>
    <dgm:pt modelId="{95EAADCF-CF49-4F78-979B-84A356644D5F}">
      <dgm:prSet/>
      <dgm:spPr>
        <a:ln>
          <a:solidFill>
            <a:srgbClr val="0872A6"/>
          </a:solidFill>
        </a:ln>
      </dgm:spPr>
      <dgm:t>
        <a:bodyPr/>
        <a:lstStyle/>
        <a:p>
          <a: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  <a:t>Canada grid-connected tidal stream project of </a:t>
          </a:r>
          <a:r>
            <a:rPr lang="en-US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9 MW</a:t>
          </a:r>
          <a: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</a:p>
      </dgm:t>
    </dgm:pt>
    <dgm:pt modelId="{2D97ACEA-6A26-4300-A72F-BEEEA4B10A27}" type="parTrans" cxnId="{2490D497-3569-449F-A0EB-15356681131C}">
      <dgm:prSet/>
      <dgm:spPr/>
      <dgm:t>
        <a:bodyPr/>
        <a:lstStyle/>
        <a:p>
          <a:endParaRPr lang="en-US"/>
        </a:p>
      </dgm:t>
    </dgm:pt>
    <dgm:pt modelId="{3061E285-99CB-4FFF-969A-F4C119C0519D}" type="sibTrans" cxnId="{2490D497-3569-449F-A0EB-15356681131C}">
      <dgm:prSet/>
      <dgm:spPr/>
      <dgm:t>
        <a:bodyPr/>
        <a:lstStyle/>
        <a:p>
          <a:endParaRPr lang="en-US"/>
        </a:p>
      </dgm:t>
    </dgm:pt>
    <dgm:pt modelId="{464FD1E6-6836-4EE8-906F-99A5AB3F00E1}">
      <dgm:prSet/>
      <dgm:spPr>
        <a:ln>
          <a:solidFill>
            <a:srgbClr val="0872A6"/>
          </a:solidFill>
        </a:ln>
      </dgm:spPr>
      <dgm:t>
        <a:bodyPr/>
        <a:lstStyle/>
        <a:p>
          <a: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  <a:t>The European Commission targets at least </a:t>
          </a:r>
          <a:r>
            <a:rPr lang="en-US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40 GW </a:t>
          </a:r>
          <a: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  <a:t>by 2050. </a:t>
          </a:r>
        </a:p>
      </dgm:t>
    </dgm:pt>
    <dgm:pt modelId="{2C4029D6-7462-46E0-86E2-0C25C8BD38BE}" type="parTrans" cxnId="{88A5432A-423A-4898-BF5B-9187E5AC62C5}">
      <dgm:prSet/>
      <dgm:spPr/>
      <dgm:t>
        <a:bodyPr/>
        <a:lstStyle/>
        <a:p>
          <a:endParaRPr lang="en-US"/>
        </a:p>
      </dgm:t>
    </dgm:pt>
    <dgm:pt modelId="{CFDB3CD1-A1A8-412B-9F9E-F30173874103}" type="sibTrans" cxnId="{88A5432A-423A-4898-BF5B-9187E5AC62C5}">
      <dgm:prSet/>
      <dgm:spPr/>
      <dgm:t>
        <a:bodyPr/>
        <a:lstStyle/>
        <a:p>
          <a:endParaRPr lang="en-US"/>
        </a:p>
      </dgm:t>
    </dgm:pt>
    <dgm:pt modelId="{DB7EF927-9B07-40CC-81F7-331FFD2FBD00}">
      <dgm:prSet/>
      <dgm:spPr>
        <a:ln>
          <a:solidFill>
            <a:srgbClr val="0872A6"/>
          </a:solidFill>
        </a:ln>
      </dgm:spPr>
      <dgm:t>
        <a:bodyPr/>
        <a:lstStyle/>
        <a:p>
          <a: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  <a:t>Emerging markets include </a:t>
          </a:r>
          <a:r>
            <a:rPr lang="en-US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China</a:t>
          </a:r>
          <a: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  <a:t>, </a:t>
          </a:r>
          <a:r>
            <a:rPr lang="en-US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Japan</a:t>
          </a:r>
          <a: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  <a:t> and </a:t>
          </a:r>
          <a:r>
            <a:rPr lang="en-US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Republic of Korea</a:t>
          </a:r>
          <a: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  <a:t>. </a:t>
          </a:r>
        </a:p>
      </dgm:t>
    </dgm:pt>
    <dgm:pt modelId="{16DC9267-4E5F-4332-9B36-7BDF000D93CB}" type="parTrans" cxnId="{8E32EDCB-538E-4F28-8EF6-F72DE6F0062D}">
      <dgm:prSet/>
      <dgm:spPr/>
      <dgm:t>
        <a:bodyPr/>
        <a:lstStyle/>
        <a:p>
          <a:endParaRPr lang="en-US"/>
        </a:p>
      </dgm:t>
    </dgm:pt>
    <dgm:pt modelId="{AB5AB401-A2D0-4F3E-B148-EACC629814D6}" type="sibTrans" cxnId="{8E32EDCB-538E-4F28-8EF6-F72DE6F0062D}">
      <dgm:prSet/>
      <dgm:spPr/>
      <dgm:t>
        <a:bodyPr/>
        <a:lstStyle/>
        <a:p>
          <a:endParaRPr lang="en-US"/>
        </a:p>
      </dgm:t>
    </dgm:pt>
    <dgm:pt modelId="{F76A148D-F0C2-4335-B528-B19ED762D39A}">
      <dgm:prSet/>
      <dgm:spPr>
        <a:ln>
          <a:solidFill>
            <a:srgbClr val="0872A6"/>
          </a:solidFill>
        </a:ln>
      </dgm:spPr>
      <dgm:t>
        <a:bodyPr/>
        <a:lstStyle/>
        <a:p>
          <a: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  <a:t>The world’s largest tidal stream turbine </a:t>
          </a:r>
          <a:r>
            <a:rPr lang="en-US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2 MW </a:t>
          </a:r>
          <a:r>
            <a:rPr lang="en-US" dirty="0">
              <a:latin typeface="Calibri" panose="020F0502020204030204" pitchFamily="34" charset="0"/>
              <a:cs typeface="Calibri" panose="020F0502020204030204" pitchFamily="34" charset="0"/>
            </a:rPr>
            <a:t>operational in Scotland</a:t>
          </a:r>
          <a:r>
            <a:rPr lang="en-US" dirty="0"/>
            <a:t>.</a:t>
          </a:r>
        </a:p>
      </dgm:t>
    </dgm:pt>
    <dgm:pt modelId="{A6484281-73AE-439E-84B6-C4138D82A5E8}" type="parTrans" cxnId="{4C8F5663-0B7A-4E60-A45F-39B9F4D4C799}">
      <dgm:prSet/>
      <dgm:spPr/>
      <dgm:t>
        <a:bodyPr/>
        <a:lstStyle/>
        <a:p>
          <a:endParaRPr lang="en-US"/>
        </a:p>
      </dgm:t>
    </dgm:pt>
    <dgm:pt modelId="{95E638C4-5E8F-423D-A9EB-93BD51D17BA9}" type="sibTrans" cxnId="{4C8F5663-0B7A-4E60-A45F-39B9F4D4C799}">
      <dgm:prSet/>
      <dgm:spPr/>
      <dgm:t>
        <a:bodyPr/>
        <a:lstStyle/>
        <a:p>
          <a:endParaRPr lang="en-US"/>
        </a:p>
      </dgm:t>
    </dgm:pt>
    <dgm:pt modelId="{BFB75B7B-5042-42A9-9DEB-A4AC13E2B274}" type="pres">
      <dgm:prSet presAssocID="{64D61782-E54C-4900-8AC0-5F02064C78C2}" presName="linearFlow" presStyleCnt="0">
        <dgm:presLayoutVars>
          <dgm:dir/>
          <dgm:animLvl val="lvl"/>
          <dgm:resizeHandles/>
        </dgm:presLayoutVars>
      </dgm:prSet>
      <dgm:spPr/>
    </dgm:pt>
    <dgm:pt modelId="{BF2EE389-56C3-4642-8EB9-9FAD5A99D887}" type="pres">
      <dgm:prSet presAssocID="{AA88702B-C180-47AF-8E74-9388484113E5}" presName="compositeNode" presStyleCnt="0">
        <dgm:presLayoutVars>
          <dgm:bulletEnabled val="1"/>
        </dgm:presLayoutVars>
      </dgm:prSet>
      <dgm:spPr/>
    </dgm:pt>
    <dgm:pt modelId="{45333189-541A-4F30-AF92-30523A9ECFC3}" type="pres">
      <dgm:prSet presAssocID="{AA88702B-C180-47AF-8E74-9388484113E5}" presName="image" presStyleLbl="fgImgPlace1" presStyleIdx="0" presStyleCnt="4"/>
      <dgm:spPr>
        <a:blipFill>
          <a:blip xmlns:r="http://schemas.openxmlformats.org/officeDocument/2006/relationships" r:embed="rId1"/>
          <a:srcRect/>
          <a:stretch>
            <a:fillRect/>
          </a:stretch>
        </a:blipFill>
        <a:ln>
          <a:solidFill>
            <a:srgbClr val="0872A6"/>
          </a:solidFill>
        </a:ln>
      </dgm:spPr>
    </dgm:pt>
    <dgm:pt modelId="{F73D252C-6763-4D1F-B4D1-BFABA90E94F1}" type="pres">
      <dgm:prSet presAssocID="{AA88702B-C180-47AF-8E74-9388484113E5}" presName="childNode" presStyleLbl="node1" presStyleIdx="0" presStyleCnt="4" custScaleX="119616">
        <dgm:presLayoutVars>
          <dgm:bulletEnabled val="1"/>
        </dgm:presLayoutVars>
      </dgm:prSet>
      <dgm:spPr/>
    </dgm:pt>
    <dgm:pt modelId="{E651355A-06CE-4C67-B0DC-42A328431529}" type="pres">
      <dgm:prSet presAssocID="{AA88702B-C180-47AF-8E74-9388484113E5}" presName="parentNode" presStyleLbl="revTx" presStyleIdx="0" presStyleCnt="4">
        <dgm:presLayoutVars>
          <dgm:chMax val="0"/>
          <dgm:bulletEnabled val="1"/>
        </dgm:presLayoutVars>
      </dgm:prSet>
      <dgm:spPr/>
    </dgm:pt>
    <dgm:pt modelId="{61689C41-3711-4CD3-9B1A-9A81F882E05A}" type="pres">
      <dgm:prSet presAssocID="{CCA68464-9CBF-4228-AF05-BDB2FBA6FBE7}" presName="sibTrans" presStyleCnt="0"/>
      <dgm:spPr/>
    </dgm:pt>
    <dgm:pt modelId="{EA4BCDFE-25DF-432E-817C-37667F63AE40}" type="pres">
      <dgm:prSet presAssocID="{AE3D05B7-06C1-4DD8-8F8A-AC27922142D9}" presName="compositeNode" presStyleCnt="0">
        <dgm:presLayoutVars>
          <dgm:bulletEnabled val="1"/>
        </dgm:presLayoutVars>
      </dgm:prSet>
      <dgm:spPr/>
    </dgm:pt>
    <dgm:pt modelId="{B80678F1-1DC4-4E9F-A5C4-C726A9FACAA7}" type="pres">
      <dgm:prSet presAssocID="{AE3D05B7-06C1-4DD8-8F8A-AC27922142D9}" presName="image" presStyleLbl="fgImgPlace1" presStyleIdx="1" presStyleCnt="4"/>
      <dgm:spPr>
        <a:blipFill>
          <a:blip xmlns:r="http://schemas.openxmlformats.org/officeDocument/2006/relationships" r:embed="rId2"/>
          <a:srcRect/>
          <a:stretch>
            <a:fillRect/>
          </a:stretch>
        </a:blipFill>
        <a:ln>
          <a:solidFill>
            <a:srgbClr val="0872A6"/>
          </a:solidFill>
        </a:ln>
      </dgm:spPr>
    </dgm:pt>
    <dgm:pt modelId="{77143358-F92B-45A6-98DD-A63805EFDC17}" type="pres">
      <dgm:prSet presAssocID="{AE3D05B7-06C1-4DD8-8F8A-AC27922142D9}" presName="childNode" presStyleLbl="node1" presStyleIdx="1" presStyleCnt="4" custScaleX="119616">
        <dgm:presLayoutVars>
          <dgm:bulletEnabled val="1"/>
        </dgm:presLayoutVars>
      </dgm:prSet>
      <dgm:spPr/>
    </dgm:pt>
    <dgm:pt modelId="{C02DB932-18F6-4FDC-BAD0-CD022BCC635F}" type="pres">
      <dgm:prSet presAssocID="{AE3D05B7-06C1-4DD8-8F8A-AC27922142D9}" presName="parentNode" presStyleLbl="revTx" presStyleIdx="1" presStyleCnt="4">
        <dgm:presLayoutVars>
          <dgm:chMax val="0"/>
          <dgm:bulletEnabled val="1"/>
        </dgm:presLayoutVars>
      </dgm:prSet>
      <dgm:spPr/>
    </dgm:pt>
    <dgm:pt modelId="{7138DC9F-64EF-4669-BEC2-2A230E9D3C52}" type="pres">
      <dgm:prSet presAssocID="{271553B5-D0F0-48A6-87EE-687E101172F0}" presName="sibTrans" presStyleCnt="0"/>
      <dgm:spPr/>
    </dgm:pt>
    <dgm:pt modelId="{7A8928C3-EAA9-4343-86D6-7474E01EECC6}" type="pres">
      <dgm:prSet presAssocID="{E772661C-F13A-4443-A146-0DC0C5C375A1}" presName="compositeNode" presStyleCnt="0">
        <dgm:presLayoutVars>
          <dgm:bulletEnabled val="1"/>
        </dgm:presLayoutVars>
      </dgm:prSet>
      <dgm:spPr/>
    </dgm:pt>
    <dgm:pt modelId="{67B5ECA2-6AAF-4604-8D3A-07E06B9CDA56}" type="pres">
      <dgm:prSet presAssocID="{E772661C-F13A-4443-A146-0DC0C5C375A1}" presName="image" presStyleLbl="fgImgPlace1" presStyleIdx="2" presStyleCnt="4"/>
      <dgm:spPr>
        <a:blipFill>
          <a:blip xmlns:r="http://schemas.openxmlformats.org/officeDocument/2006/relationships" r:embed="rId3"/>
          <a:srcRect/>
          <a:stretch>
            <a:fillRect/>
          </a:stretch>
        </a:blipFill>
        <a:ln>
          <a:solidFill>
            <a:srgbClr val="0872A6"/>
          </a:solidFill>
        </a:ln>
      </dgm:spPr>
    </dgm:pt>
    <dgm:pt modelId="{705B2960-5DBA-4490-B31E-33C44441E2C8}" type="pres">
      <dgm:prSet presAssocID="{E772661C-F13A-4443-A146-0DC0C5C375A1}" presName="childNode" presStyleLbl="node1" presStyleIdx="2" presStyleCnt="4" custScaleX="125735">
        <dgm:presLayoutVars>
          <dgm:bulletEnabled val="1"/>
        </dgm:presLayoutVars>
      </dgm:prSet>
      <dgm:spPr/>
    </dgm:pt>
    <dgm:pt modelId="{D7B49462-AAFF-460E-B7A4-9EA0EC12A709}" type="pres">
      <dgm:prSet presAssocID="{E772661C-F13A-4443-A146-0DC0C5C375A1}" presName="parentNode" presStyleLbl="revTx" presStyleIdx="2" presStyleCnt="4">
        <dgm:presLayoutVars>
          <dgm:chMax val="0"/>
          <dgm:bulletEnabled val="1"/>
        </dgm:presLayoutVars>
      </dgm:prSet>
      <dgm:spPr/>
    </dgm:pt>
    <dgm:pt modelId="{D922589E-05C2-4502-BDBB-D6EAC76C3135}" type="pres">
      <dgm:prSet presAssocID="{08B9A5FE-B3FF-4013-BCA8-8B3F3F6863F0}" presName="sibTrans" presStyleCnt="0"/>
      <dgm:spPr/>
    </dgm:pt>
    <dgm:pt modelId="{2B7E2364-6BFF-433E-B5D0-0306197A284F}" type="pres">
      <dgm:prSet presAssocID="{BE5F0BB1-EC60-49DA-A861-4235DED1C6E3}" presName="compositeNode" presStyleCnt="0">
        <dgm:presLayoutVars>
          <dgm:bulletEnabled val="1"/>
        </dgm:presLayoutVars>
      </dgm:prSet>
      <dgm:spPr/>
    </dgm:pt>
    <dgm:pt modelId="{873CC04C-48B2-4B85-8EC9-40612DE49D45}" type="pres">
      <dgm:prSet presAssocID="{BE5F0BB1-EC60-49DA-A861-4235DED1C6E3}" presName="image" presStyleLbl="fgImgPlace1" presStyleIdx="3" presStyleCnt="4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>
          <a:solidFill>
            <a:srgbClr val="0872A6"/>
          </a:solidFill>
        </a:ln>
      </dgm:spPr>
    </dgm:pt>
    <dgm:pt modelId="{D0AFD08C-C28D-4B6E-BC73-D6D841C99D29}" type="pres">
      <dgm:prSet presAssocID="{BE5F0BB1-EC60-49DA-A861-4235DED1C6E3}" presName="childNode" presStyleLbl="node1" presStyleIdx="3" presStyleCnt="4" custScaleX="119616">
        <dgm:presLayoutVars>
          <dgm:bulletEnabled val="1"/>
        </dgm:presLayoutVars>
      </dgm:prSet>
      <dgm:spPr/>
    </dgm:pt>
    <dgm:pt modelId="{CC76BC62-32E0-4022-9E1C-0A2630E826A7}" type="pres">
      <dgm:prSet presAssocID="{BE5F0BB1-EC60-49DA-A861-4235DED1C6E3}" presName="parentNode" presStyleLbl="revTx" presStyleIdx="3" presStyleCnt="4">
        <dgm:presLayoutVars>
          <dgm:chMax val="0"/>
          <dgm:bulletEnabled val="1"/>
        </dgm:presLayoutVars>
      </dgm:prSet>
      <dgm:spPr/>
    </dgm:pt>
  </dgm:ptLst>
  <dgm:cxnLst>
    <dgm:cxn modelId="{A5D6E505-2A77-4C15-9544-D683FD8473D2}" type="presOf" srcId="{AE3D05B7-06C1-4DD8-8F8A-AC27922142D9}" destId="{C02DB932-18F6-4FDC-BAD0-CD022BCC635F}" srcOrd="0" destOrd="0" presId="urn:microsoft.com/office/officeart/2005/8/layout/hList2"/>
    <dgm:cxn modelId="{30F16106-43DE-456B-BC04-13937C7DAD15}" srcId="{AA88702B-C180-47AF-8E74-9388484113E5}" destId="{F1602D1A-21DF-4F77-BD4C-7884BEACE690}" srcOrd="1" destOrd="0" parTransId="{16B0C3A2-8648-469F-95ED-68C05CF73C40}" sibTransId="{49E542EE-BC75-41F7-8F1C-9A200844AC5C}"/>
    <dgm:cxn modelId="{E491E607-3A50-406B-A945-068334D5BFAF}" srcId="{64D61782-E54C-4900-8AC0-5F02064C78C2}" destId="{AE3D05B7-06C1-4DD8-8F8A-AC27922142D9}" srcOrd="1" destOrd="0" parTransId="{9E1405E8-BD0A-470C-ADF8-9FDA08DF3CB9}" sibTransId="{271553B5-D0F0-48A6-87EE-687E101172F0}"/>
    <dgm:cxn modelId="{0536FE10-C571-4767-B5E8-00AE85B0A2C2}" type="presOf" srcId="{F76A148D-F0C2-4335-B528-B19ED762D39A}" destId="{D0AFD08C-C28D-4B6E-BC73-D6D841C99D29}" srcOrd="0" destOrd="4" presId="urn:microsoft.com/office/officeart/2005/8/layout/hList2"/>
    <dgm:cxn modelId="{B2662311-CD22-44EB-AECA-8E95BBC62C96}" srcId="{AE3D05B7-06C1-4DD8-8F8A-AC27922142D9}" destId="{331AE247-4E04-45B6-A5F2-B99BEA150912}" srcOrd="0" destOrd="0" parTransId="{A3743619-8325-46CC-93F1-4B39A3FFEE26}" sibTransId="{E38312A3-7D64-424B-B865-7B5B3CC7E004}"/>
    <dgm:cxn modelId="{EDD6D713-1708-4AB5-8BCB-2EDF7145BE87}" srcId="{AA88702B-C180-47AF-8E74-9388484113E5}" destId="{7B33DA9D-6266-49EB-A99E-B131393C1077}" srcOrd="0" destOrd="0" parTransId="{FCD3B3BE-E554-4CD0-87F7-8E1E26A348DD}" sibTransId="{242A2D8A-868D-4F6F-ADEE-ADA524FAF316}"/>
    <dgm:cxn modelId="{32F3B514-D4EF-49C8-9797-3CBEFDF3481B}" srcId="{64D61782-E54C-4900-8AC0-5F02064C78C2}" destId="{AA88702B-C180-47AF-8E74-9388484113E5}" srcOrd="0" destOrd="0" parTransId="{B398DD24-1185-4152-9C59-5183A0F81508}" sibTransId="{CCA68464-9CBF-4228-AF05-BDB2FBA6FBE7}"/>
    <dgm:cxn modelId="{CE50BD1B-8804-4DA2-834D-760727A8956E}" type="presOf" srcId="{464FD1E6-6836-4EE8-906F-99A5AB3F00E1}" destId="{D0AFD08C-C28D-4B6E-BC73-D6D841C99D29}" srcOrd="0" destOrd="2" presId="urn:microsoft.com/office/officeart/2005/8/layout/hList2"/>
    <dgm:cxn modelId="{28131524-2DF0-4DA6-A8F6-C2B2EF3727F2}" srcId="{E772661C-F13A-4443-A146-0DC0C5C375A1}" destId="{499B7923-A47A-4A55-9ACA-70BA6BF5399D}" srcOrd="2" destOrd="0" parTransId="{746EF211-6346-4253-969D-39014A2EFB5A}" sibTransId="{D0765D71-B077-4FCB-B611-2A33FF5F199E}"/>
    <dgm:cxn modelId="{A28B3D27-0DB4-41DF-8468-C12E4D2A18D8}" srcId="{AE3D05B7-06C1-4DD8-8F8A-AC27922142D9}" destId="{802CB779-F916-44FF-B4C0-901070465DF4}" srcOrd="1" destOrd="0" parTransId="{4E1F80CC-18EC-45F4-8699-30AB3B15F640}" sibTransId="{ABB30317-E2C4-4386-84C0-BF2141FFB6EC}"/>
    <dgm:cxn modelId="{4006122A-A49A-4C1D-826D-918F20D1250F}" type="presOf" srcId="{9FB1CE08-AB41-413A-9574-22B6E9A6B541}" destId="{705B2960-5DBA-4490-B31E-33C44441E2C8}" srcOrd="0" destOrd="0" presId="urn:microsoft.com/office/officeart/2005/8/layout/hList2"/>
    <dgm:cxn modelId="{88A5432A-423A-4898-BF5B-9187E5AC62C5}" srcId="{BE5F0BB1-EC60-49DA-A861-4235DED1C6E3}" destId="{464FD1E6-6836-4EE8-906F-99A5AB3F00E1}" srcOrd="2" destOrd="0" parTransId="{2C4029D6-7462-46E0-86E2-0C25C8BD38BE}" sibTransId="{CFDB3CD1-A1A8-412B-9F9E-F30173874103}"/>
    <dgm:cxn modelId="{1F2D2434-2936-4C8E-83C0-566684C6BF0E}" type="presOf" srcId="{E772661C-F13A-4443-A146-0DC0C5C375A1}" destId="{D7B49462-AAFF-460E-B7A4-9EA0EC12A709}" srcOrd="0" destOrd="0" presId="urn:microsoft.com/office/officeart/2005/8/layout/hList2"/>
    <dgm:cxn modelId="{3BB3D536-9585-4B43-952C-B45D24E03175}" type="presOf" srcId="{E5E79853-5C73-4A48-8324-536767777BFC}" destId="{705B2960-5DBA-4490-B31E-33C44441E2C8}" srcOrd="0" destOrd="3" presId="urn:microsoft.com/office/officeart/2005/8/layout/hList2"/>
    <dgm:cxn modelId="{E126493E-C6FC-43CA-B063-D894D321700A}" type="presOf" srcId="{8650D340-9E64-4157-A841-468AB3278138}" destId="{705B2960-5DBA-4490-B31E-33C44441E2C8}" srcOrd="0" destOrd="1" presId="urn:microsoft.com/office/officeart/2005/8/layout/hList2"/>
    <dgm:cxn modelId="{4C8F5663-0B7A-4E60-A45F-39B9F4D4C799}" srcId="{BE5F0BB1-EC60-49DA-A861-4235DED1C6E3}" destId="{F76A148D-F0C2-4335-B528-B19ED762D39A}" srcOrd="4" destOrd="0" parTransId="{A6484281-73AE-439E-84B6-C4138D82A5E8}" sibTransId="{95E638C4-5E8F-423D-A9EB-93BD51D17BA9}"/>
    <dgm:cxn modelId="{AC745A63-81FF-4A5C-B8C2-CF5E438B4836}" type="presOf" srcId="{BE5F0BB1-EC60-49DA-A861-4235DED1C6E3}" destId="{CC76BC62-32E0-4022-9E1C-0A2630E826A7}" srcOrd="0" destOrd="0" presId="urn:microsoft.com/office/officeart/2005/8/layout/hList2"/>
    <dgm:cxn modelId="{D0D0E245-9323-4594-B1B1-6794AD2F5C09}" srcId="{64D61782-E54C-4900-8AC0-5F02064C78C2}" destId="{BE5F0BB1-EC60-49DA-A861-4235DED1C6E3}" srcOrd="3" destOrd="0" parTransId="{E9A9E336-B0E1-4D24-BE60-89F635B752C9}" sibTransId="{EEDF07EF-9D87-4EBC-BC05-A7C513505270}"/>
    <dgm:cxn modelId="{D0476D47-0F8D-477D-8A3F-E4F38E7A4693}" type="presOf" srcId="{7B33DA9D-6266-49EB-A99E-B131393C1077}" destId="{F73D252C-6763-4D1F-B4D1-BFABA90E94F1}" srcOrd="0" destOrd="0" presId="urn:microsoft.com/office/officeart/2005/8/layout/hList2"/>
    <dgm:cxn modelId="{B79D596D-961F-49BE-A247-EEF4A462C828}" type="presOf" srcId="{499B7923-A47A-4A55-9ACA-70BA6BF5399D}" destId="{705B2960-5DBA-4490-B31E-33C44441E2C8}" srcOrd="0" destOrd="2" presId="urn:microsoft.com/office/officeart/2005/8/layout/hList2"/>
    <dgm:cxn modelId="{5F799B50-4264-42A6-9A8D-24AEB1022559}" type="presOf" srcId="{64D61782-E54C-4900-8AC0-5F02064C78C2}" destId="{BFB75B7B-5042-42A9-9DEB-A4AC13E2B274}" srcOrd="0" destOrd="0" presId="urn:microsoft.com/office/officeart/2005/8/layout/hList2"/>
    <dgm:cxn modelId="{1240E056-C4A3-4ACA-A2D2-3CEF2D4AA5AC}" type="presOf" srcId="{7FB8EE8C-49E3-4DC4-A30F-E8545247544B}" destId="{D0AFD08C-C28D-4B6E-BC73-D6D841C99D29}" srcOrd="0" destOrd="0" presId="urn:microsoft.com/office/officeart/2005/8/layout/hList2"/>
    <dgm:cxn modelId="{01F3F18C-BB43-474F-82C8-2C35EDFEF037}" srcId="{BE5F0BB1-EC60-49DA-A861-4235DED1C6E3}" destId="{7FB8EE8C-49E3-4DC4-A30F-E8545247544B}" srcOrd="0" destOrd="0" parTransId="{EDB3556B-4E49-437A-A43E-1427469F841C}" sibTransId="{C11807FA-C497-4487-9FAB-5A8181CB08CA}"/>
    <dgm:cxn modelId="{68514290-AA26-4FE6-847F-E26EDCBFEB4A}" srcId="{AE3D05B7-06C1-4DD8-8F8A-AC27922142D9}" destId="{DEC3142C-9BCF-4A93-B8BC-2DA7E631824B}" srcOrd="2" destOrd="0" parTransId="{0F077A79-AE8A-4F6D-B534-7B0B2AA743CD}" sibTransId="{2EFC4F03-AE92-48BA-8D0C-E50A78F298F1}"/>
    <dgm:cxn modelId="{5B184792-5D88-4A17-A65B-C0EED0D2CCC3}" type="presOf" srcId="{331AE247-4E04-45B6-A5F2-B99BEA150912}" destId="{77143358-F92B-45A6-98DD-A63805EFDC17}" srcOrd="0" destOrd="0" presId="urn:microsoft.com/office/officeart/2005/8/layout/hList2"/>
    <dgm:cxn modelId="{2490D497-3569-449F-A0EB-15356681131C}" srcId="{BE5F0BB1-EC60-49DA-A861-4235DED1C6E3}" destId="{95EAADCF-CF49-4F78-979B-84A356644D5F}" srcOrd="1" destOrd="0" parTransId="{2D97ACEA-6A26-4300-A72F-BEEEA4B10A27}" sibTransId="{3061E285-99CB-4FFF-969A-F4C119C0519D}"/>
    <dgm:cxn modelId="{14E9E39A-7AA0-45C0-9B54-6B07702B5EE7}" type="presOf" srcId="{DB7EF927-9B07-40CC-81F7-331FFD2FBD00}" destId="{D0AFD08C-C28D-4B6E-BC73-D6D841C99D29}" srcOrd="0" destOrd="3" presId="urn:microsoft.com/office/officeart/2005/8/layout/hList2"/>
    <dgm:cxn modelId="{58579FA4-92F4-4234-88AA-87BD57FE3039}" srcId="{64D61782-E54C-4900-8AC0-5F02064C78C2}" destId="{E772661C-F13A-4443-A146-0DC0C5C375A1}" srcOrd="2" destOrd="0" parTransId="{3AF81848-6A99-4029-96A3-AB33E63173BD}" sibTransId="{08B9A5FE-B3FF-4013-BCA8-8B3F3F6863F0}"/>
    <dgm:cxn modelId="{5F2F7AAB-2428-4A59-9DF6-C7BCDABA46E9}" type="presOf" srcId="{AE53EF0E-7305-498C-9ABB-2252C010EF26}" destId="{F73D252C-6763-4D1F-B4D1-BFABA90E94F1}" srcOrd="0" destOrd="2" presId="urn:microsoft.com/office/officeart/2005/8/layout/hList2"/>
    <dgm:cxn modelId="{83F80AB2-AA87-403B-B566-505084EFBB5F}" type="presOf" srcId="{DEC3142C-9BCF-4A93-B8BC-2DA7E631824B}" destId="{77143358-F92B-45A6-98DD-A63805EFDC17}" srcOrd="0" destOrd="2" presId="urn:microsoft.com/office/officeart/2005/8/layout/hList2"/>
    <dgm:cxn modelId="{6530B2C2-3CFB-41D0-8920-FE7520670760}" type="presOf" srcId="{AA88702B-C180-47AF-8E74-9388484113E5}" destId="{E651355A-06CE-4C67-B0DC-42A328431529}" srcOrd="0" destOrd="0" presId="urn:microsoft.com/office/officeart/2005/8/layout/hList2"/>
    <dgm:cxn modelId="{39C72DC4-A444-4BE9-96DA-5BE458B515CD}" srcId="{AA88702B-C180-47AF-8E74-9388484113E5}" destId="{AE53EF0E-7305-498C-9ABB-2252C010EF26}" srcOrd="2" destOrd="0" parTransId="{F9BF6870-AF62-482D-A474-CB0510E95970}" sibTransId="{8FE38DAC-42DD-407F-A967-F6AD61171416}"/>
    <dgm:cxn modelId="{8E32EDCB-538E-4F28-8EF6-F72DE6F0062D}" srcId="{BE5F0BB1-EC60-49DA-A861-4235DED1C6E3}" destId="{DB7EF927-9B07-40CC-81F7-331FFD2FBD00}" srcOrd="3" destOrd="0" parTransId="{16DC9267-4E5F-4332-9B36-7BDF000D93CB}" sibTransId="{AB5AB401-A2D0-4F3E-B148-EACC629814D6}"/>
    <dgm:cxn modelId="{03B0F0D0-CE0F-44D6-9FB3-8427C4105172}" type="presOf" srcId="{802CB779-F916-44FF-B4C0-901070465DF4}" destId="{77143358-F92B-45A6-98DD-A63805EFDC17}" srcOrd="0" destOrd="1" presId="urn:microsoft.com/office/officeart/2005/8/layout/hList2"/>
    <dgm:cxn modelId="{08E41CDA-70C0-48E4-B133-E29404CEF7B2}" type="presOf" srcId="{95EAADCF-CF49-4F78-979B-84A356644D5F}" destId="{D0AFD08C-C28D-4B6E-BC73-D6D841C99D29}" srcOrd="0" destOrd="1" presId="urn:microsoft.com/office/officeart/2005/8/layout/hList2"/>
    <dgm:cxn modelId="{5190E8DF-C281-4CF8-A727-38EDD6204500}" type="presOf" srcId="{F1602D1A-21DF-4F77-BD4C-7884BEACE690}" destId="{F73D252C-6763-4D1F-B4D1-BFABA90E94F1}" srcOrd="0" destOrd="1" presId="urn:microsoft.com/office/officeart/2005/8/layout/hList2"/>
    <dgm:cxn modelId="{C54617E2-7EBF-4613-833D-B9B2A8702F08}" srcId="{E772661C-F13A-4443-A146-0DC0C5C375A1}" destId="{9FB1CE08-AB41-413A-9574-22B6E9A6B541}" srcOrd="0" destOrd="0" parTransId="{AB275852-B3AF-4491-8DA5-1B2951DAC4AD}" sibTransId="{11771FF4-9728-4FE8-9A04-DD55C8642C9B}"/>
    <dgm:cxn modelId="{BD795CED-0155-450F-9E49-D01B75853FD1}" srcId="{E772661C-F13A-4443-A146-0DC0C5C375A1}" destId="{E5E79853-5C73-4A48-8324-536767777BFC}" srcOrd="3" destOrd="0" parTransId="{0E2131B9-90E1-49C0-A72B-DDC00272A095}" sibTransId="{FAAC9810-D68D-4044-9597-3CB3C599BA27}"/>
    <dgm:cxn modelId="{426D96F4-076E-4212-8E43-FE1BC62F7B5E}" srcId="{E772661C-F13A-4443-A146-0DC0C5C375A1}" destId="{8650D340-9E64-4157-A841-468AB3278138}" srcOrd="1" destOrd="0" parTransId="{E242AC12-A41B-483F-9C58-74D3E88D0B19}" sibTransId="{84C69B4D-76F2-447B-BED9-0CBD6D6F06C7}"/>
    <dgm:cxn modelId="{C2AB7EB1-EE1D-4C53-B9F3-46B03A7EDD5E}" type="presParOf" srcId="{BFB75B7B-5042-42A9-9DEB-A4AC13E2B274}" destId="{BF2EE389-56C3-4642-8EB9-9FAD5A99D887}" srcOrd="0" destOrd="0" presId="urn:microsoft.com/office/officeart/2005/8/layout/hList2"/>
    <dgm:cxn modelId="{D8835EB1-1CFD-4304-8ADD-787597C2F886}" type="presParOf" srcId="{BF2EE389-56C3-4642-8EB9-9FAD5A99D887}" destId="{45333189-541A-4F30-AF92-30523A9ECFC3}" srcOrd="0" destOrd="0" presId="urn:microsoft.com/office/officeart/2005/8/layout/hList2"/>
    <dgm:cxn modelId="{9D474485-E39A-4108-B421-2F467DAA2F52}" type="presParOf" srcId="{BF2EE389-56C3-4642-8EB9-9FAD5A99D887}" destId="{F73D252C-6763-4D1F-B4D1-BFABA90E94F1}" srcOrd="1" destOrd="0" presId="urn:microsoft.com/office/officeart/2005/8/layout/hList2"/>
    <dgm:cxn modelId="{AC2E08D1-AA55-42CC-B65C-B3103B71CE0F}" type="presParOf" srcId="{BF2EE389-56C3-4642-8EB9-9FAD5A99D887}" destId="{E651355A-06CE-4C67-B0DC-42A328431529}" srcOrd="2" destOrd="0" presId="urn:microsoft.com/office/officeart/2005/8/layout/hList2"/>
    <dgm:cxn modelId="{F722BA67-6AB8-443D-B066-5816124C62C2}" type="presParOf" srcId="{BFB75B7B-5042-42A9-9DEB-A4AC13E2B274}" destId="{61689C41-3711-4CD3-9B1A-9A81F882E05A}" srcOrd="1" destOrd="0" presId="urn:microsoft.com/office/officeart/2005/8/layout/hList2"/>
    <dgm:cxn modelId="{497BC92E-A735-4C3F-847B-A80194C7D14B}" type="presParOf" srcId="{BFB75B7B-5042-42A9-9DEB-A4AC13E2B274}" destId="{EA4BCDFE-25DF-432E-817C-37667F63AE40}" srcOrd="2" destOrd="0" presId="urn:microsoft.com/office/officeart/2005/8/layout/hList2"/>
    <dgm:cxn modelId="{ACF467B8-6E2A-499B-A9C8-1CD3ECA4C36F}" type="presParOf" srcId="{EA4BCDFE-25DF-432E-817C-37667F63AE40}" destId="{B80678F1-1DC4-4E9F-A5C4-C726A9FACAA7}" srcOrd="0" destOrd="0" presId="urn:microsoft.com/office/officeart/2005/8/layout/hList2"/>
    <dgm:cxn modelId="{121D31D6-A99D-4629-B396-7B3F77BBAFC8}" type="presParOf" srcId="{EA4BCDFE-25DF-432E-817C-37667F63AE40}" destId="{77143358-F92B-45A6-98DD-A63805EFDC17}" srcOrd="1" destOrd="0" presId="urn:microsoft.com/office/officeart/2005/8/layout/hList2"/>
    <dgm:cxn modelId="{E4691854-E3FE-40FB-8894-860CFC4988BE}" type="presParOf" srcId="{EA4BCDFE-25DF-432E-817C-37667F63AE40}" destId="{C02DB932-18F6-4FDC-BAD0-CD022BCC635F}" srcOrd="2" destOrd="0" presId="urn:microsoft.com/office/officeart/2005/8/layout/hList2"/>
    <dgm:cxn modelId="{5870D9B9-9F37-49A2-9C73-6211E9722955}" type="presParOf" srcId="{BFB75B7B-5042-42A9-9DEB-A4AC13E2B274}" destId="{7138DC9F-64EF-4669-BEC2-2A230E9D3C52}" srcOrd="3" destOrd="0" presId="urn:microsoft.com/office/officeart/2005/8/layout/hList2"/>
    <dgm:cxn modelId="{E62EBE27-61C2-4861-82BB-4DC49C5F7167}" type="presParOf" srcId="{BFB75B7B-5042-42A9-9DEB-A4AC13E2B274}" destId="{7A8928C3-EAA9-4343-86D6-7474E01EECC6}" srcOrd="4" destOrd="0" presId="urn:microsoft.com/office/officeart/2005/8/layout/hList2"/>
    <dgm:cxn modelId="{8C059993-7F83-4C9A-A4E9-4F48C0A485D2}" type="presParOf" srcId="{7A8928C3-EAA9-4343-86D6-7474E01EECC6}" destId="{67B5ECA2-6AAF-4604-8D3A-07E06B9CDA56}" srcOrd="0" destOrd="0" presId="urn:microsoft.com/office/officeart/2005/8/layout/hList2"/>
    <dgm:cxn modelId="{31ACDCEE-AF37-4A6C-B3B4-10F7EA33C6A5}" type="presParOf" srcId="{7A8928C3-EAA9-4343-86D6-7474E01EECC6}" destId="{705B2960-5DBA-4490-B31E-33C44441E2C8}" srcOrd="1" destOrd="0" presId="urn:microsoft.com/office/officeart/2005/8/layout/hList2"/>
    <dgm:cxn modelId="{396B75C4-3C49-43B1-AB78-7429EDFA1484}" type="presParOf" srcId="{7A8928C3-EAA9-4343-86D6-7474E01EECC6}" destId="{D7B49462-AAFF-460E-B7A4-9EA0EC12A709}" srcOrd="2" destOrd="0" presId="urn:microsoft.com/office/officeart/2005/8/layout/hList2"/>
    <dgm:cxn modelId="{1F0E17F1-8AC4-4F32-A4C2-4E946BCDF131}" type="presParOf" srcId="{BFB75B7B-5042-42A9-9DEB-A4AC13E2B274}" destId="{D922589E-05C2-4502-BDBB-D6EAC76C3135}" srcOrd="5" destOrd="0" presId="urn:microsoft.com/office/officeart/2005/8/layout/hList2"/>
    <dgm:cxn modelId="{C585C4E3-B022-426B-B0B8-2AEA23F8FA7D}" type="presParOf" srcId="{BFB75B7B-5042-42A9-9DEB-A4AC13E2B274}" destId="{2B7E2364-6BFF-433E-B5D0-0306197A284F}" srcOrd="6" destOrd="0" presId="urn:microsoft.com/office/officeart/2005/8/layout/hList2"/>
    <dgm:cxn modelId="{8CC62F9E-1C86-4A34-9DC2-C2F41D7329E9}" type="presParOf" srcId="{2B7E2364-6BFF-433E-B5D0-0306197A284F}" destId="{873CC04C-48B2-4B85-8EC9-40612DE49D45}" srcOrd="0" destOrd="0" presId="urn:microsoft.com/office/officeart/2005/8/layout/hList2"/>
    <dgm:cxn modelId="{28D35B6F-A045-43DB-A2E0-7D6AC4019E90}" type="presParOf" srcId="{2B7E2364-6BFF-433E-B5D0-0306197A284F}" destId="{D0AFD08C-C28D-4B6E-BC73-D6D841C99D29}" srcOrd="1" destOrd="0" presId="urn:microsoft.com/office/officeart/2005/8/layout/hList2"/>
    <dgm:cxn modelId="{AAE2BCDE-6DD5-4EC9-AD80-6B5CD7E62804}" type="presParOf" srcId="{2B7E2364-6BFF-433E-B5D0-0306197A284F}" destId="{CC76BC62-32E0-4022-9E1C-0A2630E826A7}" srcOrd="2" destOrd="0" presId="urn:microsoft.com/office/officeart/2005/8/layout/hList2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4D61782-E54C-4900-8AC0-5F02064C78C2}" type="doc">
      <dgm:prSet loTypeId="urn:microsoft.com/office/officeart/2005/8/layout/hList2" loCatId="list" qsTypeId="urn:microsoft.com/office/officeart/2005/8/quickstyle/simple2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AA88702B-C180-47AF-8E74-9388484113E5}">
      <dgm:prSet phldrT="[Text]"/>
      <dgm:spPr/>
      <dgm:t>
        <a:bodyPr/>
        <a:lstStyle/>
        <a:p>
          <a:r>
            <a:rPr lang="en-US" b="1" dirty="0"/>
            <a:t> </a:t>
          </a:r>
        </a:p>
      </dgm:t>
    </dgm:pt>
    <dgm:pt modelId="{B398DD24-1185-4152-9C59-5183A0F81508}" type="parTrans" cxnId="{32F3B514-D4EF-49C8-9797-3CBEFDF3481B}">
      <dgm:prSet/>
      <dgm:spPr/>
      <dgm:t>
        <a:bodyPr/>
        <a:lstStyle/>
        <a:p>
          <a:endParaRPr lang="en-US"/>
        </a:p>
      </dgm:t>
    </dgm:pt>
    <dgm:pt modelId="{CCA68464-9CBF-4228-AF05-BDB2FBA6FBE7}" type="sibTrans" cxnId="{32F3B514-D4EF-49C8-9797-3CBEFDF3481B}">
      <dgm:prSet/>
      <dgm:spPr/>
      <dgm:t>
        <a:bodyPr/>
        <a:lstStyle/>
        <a:p>
          <a:endParaRPr lang="en-US"/>
        </a:p>
      </dgm:t>
    </dgm:pt>
    <dgm:pt modelId="{AE3D05B7-06C1-4DD8-8F8A-AC27922142D9}">
      <dgm:prSet phldrT="[Text]"/>
      <dgm:spPr/>
      <dgm:t>
        <a:bodyPr/>
        <a:lstStyle/>
        <a:p>
          <a:endParaRPr lang="en-US" b="1" dirty="0"/>
        </a:p>
      </dgm:t>
    </dgm:pt>
    <dgm:pt modelId="{9E1405E8-BD0A-470C-ADF8-9FDA08DF3CB9}" type="parTrans" cxnId="{E491E607-3A50-406B-A945-068334D5BFAF}">
      <dgm:prSet/>
      <dgm:spPr/>
      <dgm:t>
        <a:bodyPr/>
        <a:lstStyle/>
        <a:p>
          <a:endParaRPr lang="en-US"/>
        </a:p>
      </dgm:t>
    </dgm:pt>
    <dgm:pt modelId="{271553B5-D0F0-48A6-87EE-687E101172F0}" type="sibTrans" cxnId="{E491E607-3A50-406B-A945-068334D5BFAF}">
      <dgm:prSet/>
      <dgm:spPr/>
      <dgm:t>
        <a:bodyPr/>
        <a:lstStyle/>
        <a:p>
          <a:endParaRPr lang="en-US"/>
        </a:p>
      </dgm:t>
    </dgm:pt>
    <dgm:pt modelId="{331AE247-4E04-45B6-A5F2-B99BEA150912}">
      <dgm:prSet phldrT="[Text]" custT="1"/>
      <dgm:spPr>
        <a:ln>
          <a:solidFill>
            <a:srgbClr val="FFC000"/>
          </a:solidFill>
        </a:ln>
      </dgm:spPr>
      <dgm:t>
        <a:bodyPr/>
        <a:lstStyle/>
        <a:p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future demand driven by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Asian countries</a:t>
          </a:r>
          <a:b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b="1" dirty="0">
            <a:solidFill>
              <a:srgbClr val="0872A6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3743619-8325-46CC-93F1-4B39A3FFEE26}" type="parTrans" cxnId="{B2662311-CD22-44EB-AECA-8E95BBC62C96}">
      <dgm:prSet/>
      <dgm:spPr/>
      <dgm:t>
        <a:bodyPr/>
        <a:lstStyle/>
        <a:p>
          <a:endParaRPr lang="en-US"/>
        </a:p>
      </dgm:t>
    </dgm:pt>
    <dgm:pt modelId="{E38312A3-7D64-424B-B865-7B5B3CC7E004}" type="sibTrans" cxnId="{B2662311-CD22-44EB-AECA-8E95BBC62C96}">
      <dgm:prSet/>
      <dgm:spPr/>
      <dgm:t>
        <a:bodyPr/>
        <a:lstStyle/>
        <a:p>
          <a:endParaRPr lang="en-US"/>
        </a:p>
      </dgm:t>
    </dgm:pt>
    <dgm:pt modelId="{9FB1CE08-AB41-413A-9574-22B6E9A6B541}">
      <dgm:prSet phldrT="[Text]" custT="1"/>
      <dgm:spPr>
        <a:ln>
          <a:solidFill>
            <a:srgbClr val="FFC000"/>
          </a:solidFill>
        </a:ln>
      </dgm:spPr>
      <dgm:t>
        <a:bodyPr/>
        <a:lstStyle/>
        <a:p>
          <a:r>
            <a:rPr lang="en-US" sz="1600" b="0" dirty="0">
              <a:latin typeface="Calibri" panose="020F0502020204030204" pitchFamily="34" charset="0"/>
              <a:cs typeface="Calibri" panose="020F0502020204030204" pitchFamily="34" charset="0"/>
            </a:rPr>
            <a:t>2020 estimated: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USD 0.354/kWh</a:t>
          </a:r>
        </a:p>
      </dgm:t>
    </dgm:pt>
    <dgm:pt modelId="{AB275852-B3AF-4491-8DA5-1B2951DAC4AD}" type="parTrans" cxnId="{C54617E2-7EBF-4613-833D-B9B2A8702F08}">
      <dgm:prSet/>
      <dgm:spPr/>
      <dgm:t>
        <a:bodyPr/>
        <a:lstStyle/>
        <a:p>
          <a:endParaRPr lang="en-US"/>
        </a:p>
      </dgm:t>
    </dgm:pt>
    <dgm:pt modelId="{11771FF4-9728-4FE8-9A04-DD55C8642C9B}" type="sibTrans" cxnId="{C54617E2-7EBF-4613-833D-B9B2A8702F08}">
      <dgm:prSet/>
      <dgm:spPr/>
      <dgm:t>
        <a:bodyPr/>
        <a:lstStyle/>
        <a:p>
          <a:endParaRPr lang="en-US"/>
        </a:p>
      </dgm:t>
    </dgm:pt>
    <dgm:pt modelId="{E772661C-F13A-4443-A146-0DC0C5C375A1}">
      <dgm:prSet phldrT="[Text]"/>
      <dgm:spPr/>
      <dgm:t>
        <a:bodyPr/>
        <a:lstStyle/>
        <a:p>
          <a:endParaRPr lang="en-US" dirty="0"/>
        </a:p>
      </dgm:t>
    </dgm:pt>
    <dgm:pt modelId="{3AF81848-6A99-4029-96A3-AB33E63173BD}" type="parTrans" cxnId="{58579FA4-92F4-4234-88AA-87BD57FE3039}">
      <dgm:prSet/>
      <dgm:spPr/>
      <dgm:t>
        <a:bodyPr/>
        <a:lstStyle/>
        <a:p>
          <a:endParaRPr lang="en-US"/>
        </a:p>
      </dgm:t>
    </dgm:pt>
    <dgm:pt modelId="{08B9A5FE-B3FF-4013-BCA8-8B3F3F6863F0}" type="sibTrans" cxnId="{58579FA4-92F4-4234-88AA-87BD57FE3039}">
      <dgm:prSet/>
      <dgm:spPr/>
      <dgm:t>
        <a:bodyPr/>
        <a:lstStyle/>
        <a:p>
          <a:endParaRPr lang="en-US"/>
        </a:p>
      </dgm:t>
    </dgm:pt>
    <dgm:pt modelId="{BE5F0BB1-EC60-49DA-A861-4235DED1C6E3}">
      <dgm:prSet phldrT="[Text]"/>
      <dgm:spPr/>
      <dgm:t>
        <a:bodyPr/>
        <a:lstStyle/>
        <a:p>
          <a:endParaRPr lang="en-US" dirty="0"/>
        </a:p>
      </dgm:t>
    </dgm:pt>
    <dgm:pt modelId="{E9A9E336-B0E1-4D24-BE60-89F635B752C9}" type="parTrans" cxnId="{D0D0E245-9323-4594-B1B1-6794AD2F5C09}">
      <dgm:prSet/>
      <dgm:spPr/>
      <dgm:t>
        <a:bodyPr/>
        <a:lstStyle/>
        <a:p>
          <a:endParaRPr lang="en-US"/>
        </a:p>
      </dgm:t>
    </dgm:pt>
    <dgm:pt modelId="{EEDF07EF-9D87-4EBC-BC05-A7C513505270}" type="sibTrans" cxnId="{D0D0E245-9323-4594-B1B1-6794AD2F5C09}">
      <dgm:prSet/>
      <dgm:spPr/>
      <dgm:t>
        <a:bodyPr/>
        <a:lstStyle/>
        <a:p>
          <a:endParaRPr lang="en-US"/>
        </a:p>
      </dgm:t>
    </dgm:pt>
    <dgm:pt modelId="{7FB8EE8C-49E3-4DC4-A30F-E8545247544B}">
      <dgm:prSet phldrT="[Text]" custT="1"/>
      <dgm:spPr>
        <a:ln>
          <a:solidFill>
            <a:srgbClr val="FFC000"/>
          </a:solidFill>
        </a:ln>
      </dgm:spPr>
      <dgm:t>
        <a:bodyPr/>
        <a:lstStyle/>
        <a:p>
          <a:r>
            <a:rPr lang="en-US" sz="16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he largest plant globally is located in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China</a:t>
          </a:r>
          <a:r>
            <a:rPr lang="en-US" sz="16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with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150 MW</a:t>
          </a:r>
          <a:b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b="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DB3556B-4E49-437A-A43E-1427469F841C}" type="parTrans" cxnId="{01F3F18C-BB43-474F-82C8-2C35EDFEF037}">
      <dgm:prSet/>
      <dgm:spPr/>
      <dgm:t>
        <a:bodyPr/>
        <a:lstStyle/>
        <a:p>
          <a:endParaRPr lang="en-US"/>
        </a:p>
      </dgm:t>
    </dgm:pt>
    <dgm:pt modelId="{C11807FA-C497-4487-9FAB-5A8181CB08CA}" type="sibTrans" cxnId="{01F3F18C-BB43-474F-82C8-2C35EDFEF037}">
      <dgm:prSet/>
      <dgm:spPr/>
      <dgm:t>
        <a:bodyPr/>
        <a:lstStyle/>
        <a:p>
          <a:endParaRPr lang="en-US"/>
        </a:p>
      </dgm:t>
    </dgm:pt>
    <dgm:pt modelId="{7B33DA9D-6266-49EB-A99E-B131393C1077}">
      <dgm:prSet phldrT="[Text]" custT="1"/>
      <dgm:spPr>
        <a:ln>
          <a:solidFill>
            <a:srgbClr val="FFC000"/>
          </a:solidFill>
        </a:ln>
      </dgm:spPr>
      <dgm:t>
        <a:bodyPr/>
        <a:lstStyle/>
        <a:p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Global installed capacity 2020: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2.6 GW</a:t>
          </a:r>
          <a:b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b="1" dirty="0">
            <a:solidFill>
              <a:srgbClr val="0872A6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CD3B3BE-E554-4CD0-87F7-8E1E26A348DD}" type="parTrans" cxnId="{EDD6D713-1708-4AB5-8BCB-2EDF7145BE87}">
      <dgm:prSet/>
      <dgm:spPr/>
      <dgm:t>
        <a:bodyPr/>
        <a:lstStyle/>
        <a:p>
          <a:endParaRPr lang="en-US"/>
        </a:p>
      </dgm:t>
    </dgm:pt>
    <dgm:pt modelId="{242A2D8A-868D-4F6F-ADEE-ADA524FAF316}" type="sibTrans" cxnId="{EDD6D713-1708-4AB5-8BCB-2EDF7145BE87}">
      <dgm:prSet/>
      <dgm:spPr/>
      <dgm:t>
        <a:bodyPr/>
        <a:lstStyle/>
        <a:p>
          <a:endParaRPr lang="en-US"/>
        </a:p>
      </dgm:t>
    </dgm:pt>
    <dgm:pt modelId="{9668CAFD-1336-4272-B194-BD733B6A47BE}">
      <dgm:prSet custT="1"/>
      <dgm:spPr>
        <a:ln>
          <a:solidFill>
            <a:srgbClr val="FFC000"/>
          </a:solidFill>
        </a:ln>
      </dgm:spPr>
      <dgm:t>
        <a:bodyPr/>
        <a:lstStyle/>
        <a:p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339 projects in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35</a:t>
          </a:r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 countries</a:t>
          </a:r>
          <a:b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F07861D-5DFC-4AAF-9E98-C7239A0BE5CB}" type="parTrans" cxnId="{04C0C1F2-45F8-40A6-BB92-DC963C7141E8}">
      <dgm:prSet/>
      <dgm:spPr/>
      <dgm:t>
        <a:bodyPr/>
        <a:lstStyle/>
        <a:p>
          <a:endParaRPr lang="en-US"/>
        </a:p>
      </dgm:t>
    </dgm:pt>
    <dgm:pt modelId="{37C72502-E45B-457B-8403-C5FE94BA0EB5}" type="sibTrans" cxnId="{04C0C1F2-45F8-40A6-BB92-DC963C7141E8}">
      <dgm:prSet/>
      <dgm:spPr/>
      <dgm:t>
        <a:bodyPr/>
        <a:lstStyle/>
        <a:p>
          <a:endParaRPr lang="en-US"/>
        </a:p>
      </dgm:t>
    </dgm:pt>
    <dgm:pt modelId="{8CB0C90E-13AD-49C1-BEB6-688D82FE2DCE}">
      <dgm:prSet custT="1"/>
      <dgm:spPr>
        <a:ln>
          <a:solidFill>
            <a:srgbClr val="FFC000"/>
          </a:solidFill>
        </a:ln>
      </dgm:spPr>
      <dgm:t>
        <a:bodyPr/>
        <a:lstStyle/>
        <a:p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Accelerated growth in last 3 years –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1.5 GW </a:t>
          </a:r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additional capacity</a:t>
          </a:r>
        </a:p>
      </dgm:t>
    </dgm:pt>
    <dgm:pt modelId="{0566BD2C-BB57-4D9B-9D1E-ABC5DEA64361}" type="parTrans" cxnId="{C68C66AA-C34F-436E-9310-6F235D72C933}">
      <dgm:prSet/>
      <dgm:spPr/>
      <dgm:t>
        <a:bodyPr/>
        <a:lstStyle/>
        <a:p>
          <a:endParaRPr lang="en-US"/>
        </a:p>
      </dgm:t>
    </dgm:pt>
    <dgm:pt modelId="{5F1CA8E4-6941-43AC-B781-6804649EB1BC}" type="sibTrans" cxnId="{C68C66AA-C34F-436E-9310-6F235D72C933}">
      <dgm:prSet/>
      <dgm:spPr/>
      <dgm:t>
        <a:bodyPr/>
        <a:lstStyle/>
        <a:p>
          <a:endParaRPr lang="en-US"/>
        </a:p>
      </dgm:t>
    </dgm:pt>
    <dgm:pt modelId="{980C95FD-83C1-47F3-96DA-D2E19B2A99C9}">
      <dgm:prSet custT="1"/>
      <dgm:spPr>
        <a:ln>
          <a:solidFill>
            <a:srgbClr val="FFC000"/>
          </a:solidFill>
        </a:ln>
      </dgm:spPr>
      <dgm:t>
        <a:bodyPr/>
        <a:lstStyle/>
        <a:p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India plans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1 GW</a:t>
          </a:r>
        </a:p>
      </dgm:t>
    </dgm:pt>
    <dgm:pt modelId="{6E595B2D-1DA1-4835-8A83-442454BFC5AD}" type="parTrans" cxnId="{69AF5F5B-309B-4F5A-B0B3-D08F51C712E4}">
      <dgm:prSet/>
      <dgm:spPr/>
      <dgm:t>
        <a:bodyPr/>
        <a:lstStyle/>
        <a:p>
          <a:endParaRPr lang="en-US"/>
        </a:p>
      </dgm:t>
    </dgm:pt>
    <dgm:pt modelId="{CAA65D0C-ED43-4439-9AA5-1BFF9925D29E}" type="sibTrans" cxnId="{69AF5F5B-309B-4F5A-B0B3-D08F51C712E4}">
      <dgm:prSet/>
      <dgm:spPr/>
      <dgm:t>
        <a:bodyPr/>
        <a:lstStyle/>
        <a:p>
          <a:endParaRPr lang="en-US"/>
        </a:p>
      </dgm:t>
    </dgm:pt>
    <dgm:pt modelId="{BD303B7C-3D90-4A2E-84AA-9B7767DF626F}">
      <dgm:prSet custT="1"/>
      <dgm:spPr>
        <a:ln>
          <a:solidFill>
            <a:srgbClr val="FFC000"/>
          </a:solidFill>
        </a:ln>
      </dgm:spPr>
      <dgm:t>
        <a:bodyPr/>
        <a:lstStyle/>
        <a:p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Korea plans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2.7 GW </a:t>
          </a:r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in the Yellow Sea</a:t>
          </a:r>
        </a:p>
      </dgm:t>
    </dgm:pt>
    <dgm:pt modelId="{1FF9ED35-F53F-4239-A017-F9DBCE92980B}" type="parTrans" cxnId="{AF848C68-4126-43DD-B195-FC3A4ED923D1}">
      <dgm:prSet/>
      <dgm:spPr/>
      <dgm:t>
        <a:bodyPr/>
        <a:lstStyle/>
        <a:p>
          <a:endParaRPr lang="en-US"/>
        </a:p>
      </dgm:t>
    </dgm:pt>
    <dgm:pt modelId="{3E39145B-504D-4352-BEC2-366AA902CBCE}" type="sibTrans" cxnId="{AF848C68-4126-43DD-B195-FC3A4ED923D1}">
      <dgm:prSet/>
      <dgm:spPr/>
      <dgm:t>
        <a:bodyPr/>
        <a:lstStyle/>
        <a:p>
          <a:endParaRPr lang="en-US"/>
        </a:p>
      </dgm:t>
    </dgm:pt>
    <dgm:pt modelId="{A97DDCA6-25AD-4BBA-9F06-785D6A392A40}">
      <dgm:prSet custT="1"/>
      <dgm:spPr>
        <a:ln>
          <a:solidFill>
            <a:srgbClr val="FFC000"/>
          </a:solidFill>
        </a:ln>
      </dgm:spPr>
      <dgm:t>
        <a:bodyPr/>
        <a:lstStyle/>
        <a:p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Ghana</a:t>
          </a:r>
          <a:r>
            <a:rPr lang="en-US" sz="16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has installed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5 MW</a:t>
          </a:r>
          <a:r>
            <a:rPr lang="en-US" sz="16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in 2020</a:t>
          </a:r>
          <a:br>
            <a:rPr lang="en-US" sz="16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b="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500EED53-E081-4692-AE57-EB51E940D11E}" type="parTrans" cxnId="{0AFED2C7-885D-4CE9-9BF8-18D06F350C59}">
      <dgm:prSet/>
      <dgm:spPr/>
      <dgm:t>
        <a:bodyPr/>
        <a:lstStyle/>
        <a:p>
          <a:endParaRPr lang="en-US"/>
        </a:p>
      </dgm:t>
    </dgm:pt>
    <dgm:pt modelId="{F6F77E99-B127-41B9-A6D2-FD79E9489BD8}" type="sibTrans" cxnId="{0AFED2C7-885D-4CE9-9BF8-18D06F350C59}">
      <dgm:prSet/>
      <dgm:spPr/>
      <dgm:t>
        <a:bodyPr/>
        <a:lstStyle/>
        <a:p>
          <a:endParaRPr lang="en-US"/>
        </a:p>
      </dgm:t>
    </dgm:pt>
    <dgm:pt modelId="{993624FE-AF8A-400A-85E0-D738B6436DF4}">
      <dgm:prSet custT="1"/>
      <dgm:spPr>
        <a:ln>
          <a:solidFill>
            <a:srgbClr val="FFC000"/>
          </a:solidFill>
        </a:ln>
      </dgm:spPr>
      <dgm:t>
        <a:bodyPr/>
        <a:lstStyle/>
        <a:p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Netherlands</a:t>
          </a:r>
          <a:r>
            <a:rPr lang="en-US" sz="16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has a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27.4 MW </a:t>
          </a:r>
          <a:r>
            <a:rPr lang="en-US" sz="16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plant</a:t>
          </a:r>
          <a:br>
            <a:rPr lang="en-US" sz="16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b="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78F4561-EDBF-4DEC-AEC0-FFF372E222BE}" type="parTrans" cxnId="{61F6AD38-8FC8-4B65-BC35-2314CEB94090}">
      <dgm:prSet/>
      <dgm:spPr/>
      <dgm:t>
        <a:bodyPr/>
        <a:lstStyle/>
        <a:p>
          <a:endParaRPr lang="en-US"/>
        </a:p>
      </dgm:t>
    </dgm:pt>
    <dgm:pt modelId="{EEF649A9-9560-464C-9D95-99EAF73EA9EA}" type="sibTrans" cxnId="{61F6AD38-8FC8-4B65-BC35-2314CEB94090}">
      <dgm:prSet/>
      <dgm:spPr/>
      <dgm:t>
        <a:bodyPr/>
        <a:lstStyle/>
        <a:p>
          <a:endParaRPr lang="en-US"/>
        </a:p>
      </dgm:t>
    </dgm:pt>
    <dgm:pt modelId="{523D469A-A0C0-480F-9B39-07179ECA0DA6}">
      <dgm:prSet custT="1"/>
      <dgm:spPr>
        <a:ln>
          <a:solidFill>
            <a:srgbClr val="FFC000"/>
          </a:solidFill>
        </a:ln>
      </dgm:spPr>
      <dgm:t>
        <a:bodyPr/>
        <a:lstStyle/>
        <a:p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Singapore </a:t>
          </a:r>
          <a:r>
            <a:rPr lang="en-US" sz="16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plans </a:t>
          </a:r>
          <a:r>
            <a:rPr lang="en-US" sz="1600" b="1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50 MW</a:t>
          </a:r>
        </a:p>
      </dgm:t>
    </dgm:pt>
    <dgm:pt modelId="{3E7C57BA-3931-44B6-A6E3-9F87DD3126B8}" type="parTrans" cxnId="{C4E9DABE-04BE-4DB1-B426-70C823827526}">
      <dgm:prSet/>
      <dgm:spPr/>
      <dgm:t>
        <a:bodyPr/>
        <a:lstStyle/>
        <a:p>
          <a:endParaRPr lang="en-US"/>
        </a:p>
      </dgm:t>
    </dgm:pt>
    <dgm:pt modelId="{05832821-CFB0-413C-B627-0B2682CB6EB7}" type="sibTrans" cxnId="{C4E9DABE-04BE-4DB1-B426-70C823827526}">
      <dgm:prSet/>
      <dgm:spPr/>
      <dgm:t>
        <a:bodyPr/>
        <a:lstStyle/>
        <a:p>
          <a:endParaRPr lang="en-US"/>
        </a:p>
      </dgm:t>
    </dgm:pt>
    <dgm:pt modelId="{957BE4B2-EB7C-4707-96D8-323E53457AEB}">
      <dgm:prSet/>
      <dgm:spPr>
        <a:ln>
          <a:solidFill>
            <a:srgbClr val="FFC000"/>
          </a:solidFill>
        </a:ln>
      </dgm:spPr>
      <dgm:t>
        <a:bodyPr/>
        <a:lstStyle/>
        <a:p>
          <a:endParaRPr lang="en-US" sz="2000" b="1" dirty="0">
            <a:solidFill>
              <a:srgbClr val="0872A6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7C9B469-B25B-4E11-A904-7164A87C4871}" type="parTrans" cxnId="{A7EEBFCB-2D9E-4DB2-91EA-589F6600C550}">
      <dgm:prSet/>
      <dgm:spPr/>
      <dgm:t>
        <a:bodyPr/>
        <a:lstStyle/>
        <a:p>
          <a:endParaRPr lang="en-US"/>
        </a:p>
      </dgm:t>
    </dgm:pt>
    <dgm:pt modelId="{2AC01472-3EFC-4447-B6E0-B7FF2951B8CA}" type="sibTrans" cxnId="{A7EEBFCB-2D9E-4DB2-91EA-589F6600C550}">
      <dgm:prSet/>
      <dgm:spPr/>
      <dgm:t>
        <a:bodyPr/>
        <a:lstStyle/>
        <a:p>
          <a:endParaRPr lang="en-US"/>
        </a:p>
      </dgm:t>
    </dgm:pt>
    <dgm:pt modelId="{BFB75B7B-5042-42A9-9DEB-A4AC13E2B274}" type="pres">
      <dgm:prSet presAssocID="{64D61782-E54C-4900-8AC0-5F02064C78C2}" presName="linearFlow" presStyleCnt="0">
        <dgm:presLayoutVars>
          <dgm:dir/>
          <dgm:animLvl val="lvl"/>
          <dgm:resizeHandles/>
        </dgm:presLayoutVars>
      </dgm:prSet>
      <dgm:spPr/>
    </dgm:pt>
    <dgm:pt modelId="{BF2EE389-56C3-4642-8EB9-9FAD5A99D887}" type="pres">
      <dgm:prSet presAssocID="{AA88702B-C180-47AF-8E74-9388484113E5}" presName="compositeNode" presStyleCnt="0">
        <dgm:presLayoutVars>
          <dgm:bulletEnabled val="1"/>
        </dgm:presLayoutVars>
      </dgm:prSet>
      <dgm:spPr/>
    </dgm:pt>
    <dgm:pt modelId="{45333189-541A-4F30-AF92-30523A9ECFC3}" type="pres">
      <dgm:prSet presAssocID="{AA88702B-C180-47AF-8E74-9388484113E5}" presName="image" presStyleLbl="fgImgPlace1" presStyleIdx="0" presStyleCnt="4"/>
      <dgm:spPr>
        <a:blipFill>
          <a:blip xmlns:r="http://schemas.openxmlformats.org/officeDocument/2006/relationships" r:embed="rId1"/>
          <a:srcRect/>
          <a:stretch>
            <a:fillRect/>
          </a:stretch>
        </a:blipFill>
        <a:ln>
          <a:solidFill>
            <a:srgbClr val="FFC000"/>
          </a:solidFill>
        </a:ln>
      </dgm:spPr>
    </dgm:pt>
    <dgm:pt modelId="{F73D252C-6763-4D1F-B4D1-BFABA90E94F1}" type="pres">
      <dgm:prSet presAssocID="{AA88702B-C180-47AF-8E74-9388484113E5}" presName="childNode" presStyleLbl="node1" presStyleIdx="0" presStyleCnt="4" custScaleX="119616">
        <dgm:presLayoutVars>
          <dgm:bulletEnabled val="1"/>
        </dgm:presLayoutVars>
      </dgm:prSet>
      <dgm:spPr/>
    </dgm:pt>
    <dgm:pt modelId="{E651355A-06CE-4C67-B0DC-42A328431529}" type="pres">
      <dgm:prSet presAssocID="{AA88702B-C180-47AF-8E74-9388484113E5}" presName="parentNode" presStyleLbl="revTx" presStyleIdx="0" presStyleCnt="4">
        <dgm:presLayoutVars>
          <dgm:chMax val="0"/>
          <dgm:bulletEnabled val="1"/>
        </dgm:presLayoutVars>
      </dgm:prSet>
      <dgm:spPr/>
    </dgm:pt>
    <dgm:pt modelId="{61689C41-3711-4CD3-9B1A-9A81F882E05A}" type="pres">
      <dgm:prSet presAssocID="{CCA68464-9CBF-4228-AF05-BDB2FBA6FBE7}" presName="sibTrans" presStyleCnt="0"/>
      <dgm:spPr/>
    </dgm:pt>
    <dgm:pt modelId="{EA4BCDFE-25DF-432E-817C-37667F63AE40}" type="pres">
      <dgm:prSet presAssocID="{AE3D05B7-06C1-4DD8-8F8A-AC27922142D9}" presName="compositeNode" presStyleCnt="0">
        <dgm:presLayoutVars>
          <dgm:bulletEnabled val="1"/>
        </dgm:presLayoutVars>
      </dgm:prSet>
      <dgm:spPr/>
    </dgm:pt>
    <dgm:pt modelId="{B80678F1-1DC4-4E9F-A5C4-C726A9FACAA7}" type="pres">
      <dgm:prSet presAssocID="{AE3D05B7-06C1-4DD8-8F8A-AC27922142D9}" presName="image" presStyleLbl="fgImgPlace1" presStyleIdx="1" presStyleCnt="4"/>
      <dgm:spPr>
        <a:blipFill>
          <a:blip xmlns:r="http://schemas.openxmlformats.org/officeDocument/2006/relationships" r:embed="rId2"/>
          <a:srcRect/>
          <a:stretch>
            <a:fillRect/>
          </a:stretch>
        </a:blipFill>
        <a:ln>
          <a:solidFill>
            <a:srgbClr val="FFC000"/>
          </a:solidFill>
        </a:ln>
      </dgm:spPr>
    </dgm:pt>
    <dgm:pt modelId="{77143358-F92B-45A6-98DD-A63805EFDC17}" type="pres">
      <dgm:prSet presAssocID="{AE3D05B7-06C1-4DD8-8F8A-AC27922142D9}" presName="childNode" presStyleLbl="node1" presStyleIdx="1" presStyleCnt="4" custScaleX="119616">
        <dgm:presLayoutVars>
          <dgm:bulletEnabled val="1"/>
        </dgm:presLayoutVars>
      </dgm:prSet>
      <dgm:spPr/>
    </dgm:pt>
    <dgm:pt modelId="{C02DB932-18F6-4FDC-BAD0-CD022BCC635F}" type="pres">
      <dgm:prSet presAssocID="{AE3D05B7-06C1-4DD8-8F8A-AC27922142D9}" presName="parentNode" presStyleLbl="revTx" presStyleIdx="1" presStyleCnt="4">
        <dgm:presLayoutVars>
          <dgm:chMax val="0"/>
          <dgm:bulletEnabled val="1"/>
        </dgm:presLayoutVars>
      </dgm:prSet>
      <dgm:spPr/>
    </dgm:pt>
    <dgm:pt modelId="{7138DC9F-64EF-4669-BEC2-2A230E9D3C52}" type="pres">
      <dgm:prSet presAssocID="{271553B5-D0F0-48A6-87EE-687E101172F0}" presName="sibTrans" presStyleCnt="0"/>
      <dgm:spPr/>
    </dgm:pt>
    <dgm:pt modelId="{7A8928C3-EAA9-4343-86D6-7474E01EECC6}" type="pres">
      <dgm:prSet presAssocID="{E772661C-F13A-4443-A146-0DC0C5C375A1}" presName="compositeNode" presStyleCnt="0">
        <dgm:presLayoutVars>
          <dgm:bulletEnabled val="1"/>
        </dgm:presLayoutVars>
      </dgm:prSet>
      <dgm:spPr/>
    </dgm:pt>
    <dgm:pt modelId="{67B5ECA2-6AAF-4604-8D3A-07E06B9CDA56}" type="pres">
      <dgm:prSet presAssocID="{E772661C-F13A-4443-A146-0DC0C5C375A1}" presName="image" presStyleLbl="fgImgPlace1" presStyleIdx="2" presStyleCnt="4"/>
      <dgm:spPr>
        <a:blipFill>
          <a:blip xmlns:r="http://schemas.openxmlformats.org/officeDocument/2006/relationships" r:embed="rId3"/>
          <a:srcRect/>
          <a:stretch>
            <a:fillRect/>
          </a:stretch>
        </a:blipFill>
        <a:ln>
          <a:solidFill>
            <a:srgbClr val="FFC000"/>
          </a:solidFill>
        </a:ln>
      </dgm:spPr>
    </dgm:pt>
    <dgm:pt modelId="{705B2960-5DBA-4490-B31E-33C44441E2C8}" type="pres">
      <dgm:prSet presAssocID="{E772661C-F13A-4443-A146-0DC0C5C375A1}" presName="childNode" presStyleLbl="node1" presStyleIdx="2" presStyleCnt="4" custScaleX="125735">
        <dgm:presLayoutVars>
          <dgm:bulletEnabled val="1"/>
        </dgm:presLayoutVars>
      </dgm:prSet>
      <dgm:spPr/>
    </dgm:pt>
    <dgm:pt modelId="{D7B49462-AAFF-460E-B7A4-9EA0EC12A709}" type="pres">
      <dgm:prSet presAssocID="{E772661C-F13A-4443-A146-0DC0C5C375A1}" presName="parentNode" presStyleLbl="revTx" presStyleIdx="2" presStyleCnt="4">
        <dgm:presLayoutVars>
          <dgm:chMax val="0"/>
          <dgm:bulletEnabled val="1"/>
        </dgm:presLayoutVars>
      </dgm:prSet>
      <dgm:spPr/>
    </dgm:pt>
    <dgm:pt modelId="{D922589E-05C2-4502-BDBB-D6EAC76C3135}" type="pres">
      <dgm:prSet presAssocID="{08B9A5FE-B3FF-4013-BCA8-8B3F3F6863F0}" presName="sibTrans" presStyleCnt="0"/>
      <dgm:spPr/>
    </dgm:pt>
    <dgm:pt modelId="{2B7E2364-6BFF-433E-B5D0-0306197A284F}" type="pres">
      <dgm:prSet presAssocID="{BE5F0BB1-EC60-49DA-A861-4235DED1C6E3}" presName="compositeNode" presStyleCnt="0">
        <dgm:presLayoutVars>
          <dgm:bulletEnabled val="1"/>
        </dgm:presLayoutVars>
      </dgm:prSet>
      <dgm:spPr/>
    </dgm:pt>
    <dgm:pt modelId="{873CC04C-48B2-4B85-8EC9-40612DE49D45}" type="pres">
      <dgm:prSet presAssocID="{BE5F0BB1-EC60-49DA-A861-4235DED1C6E3}" presName="image" presStyleLbl="fgImgPlace1" presStyleIdx="3" presStyleCnt="4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>
          <a:solidFill>
            <a:srgbClr val="FFC000"/>
          </a:solidFill>
        </a:ln>
      </dgm:spPr>
    </dgm:pt>
    <dgm:pt modelId="{D0AFD08C-C28D-4B6E-BC73-D6D841C99D29}" type="pres">
      <dgm:prSet presAssocID="{BE5F0BB1-EC60-49DA-A861-4235DED1C6E3}" presName="childNode" presStyleLbl="node1" presStyleIdx="3" presStyleCnt="4" custScaleX="119616">
        <dgm:presLayoutVars>
          <dgm:bulletEnabled val="1"/>
        </dgm:presLayoutVars>
      </dgm:prSet>
      <dgm:spPr/>
    </dgm:pt>
    <dgm:pt modelId="{CC76BC62-32E0-4022-9E1C-0A2630E826A7}" type="pres">
      <dgm:prSet presAssocID="{BE5F0BB1-EC60-49DA-A861-4235DED1C6E3}" presName="parentNode" presStyleLbl="revTx" presStyleIdx="3" presStyleCnt="4">
        <dgm:presLayoutVars>
          <dgm:chMax val="0"/>
          <dgm:bulletEnabled val="1"/>
        </dgm:presLayoutVars>
      </dgm:prSet>
      <dgm:spPr/>
    </dgm:pt>
  </dgm:ptLst>
  <dgm:cxnLst>
    <dgm:cxn modelId="{A5D6E505-2A77-4C15-9544-D683FD8473D2}" type="presOf" srcId="{AE3D05B7-06C1-4DD8-8F8A-AC27922142D9}" destId="{C02DB932-18F6-4FDC-BAD0-CD022BCC635F}" srcOrd="0" destOrd="0" presId="urn:microsoft.com/office/officeart/2005/8/layout/hList2"/>
    <dgm:cxn modelId="{E491E607-3A50-406B-A945-068334D5BFAF}" srcId="{64D61782-E54C-4900-8AC0-5F02064C78C2}" destId="{AE3D05B7-06C1-4DD8-8F8A-AC27922142D9}" srcOrd="1" destOrd="0" parTransId="{9E1405E8-BD0A-470C-ADF8-9FDA08DF3CB9}" sibTransId="{271553B5-D0F0-48A6-87EE-687E101172F0}"/>
    <dgm:cxn modelId="{B2662311-CD22-44EB-AECA-8E95BBC62C96}" srcId="{AE3D05B7-06C1-4DD8-8F8A-AC27922142D9}" destId="{331AE247-4E04-45B6-A5F2-B99BEA150912}" srcOrd="0" destOrd="0" parTransId="{A3743619-8325-46CC-93F1-4B39A3FFEE26}" sibTransId="{E38312A3-7D64-424B-B865-7B5B3CC7E004}"/>
    <dgm:cxn modelId="{EDD6D713-1708-4AB5-8BCB-2EDF7145BE87}" srcId="{AA88702B-C180-47AF-8E74-9388484113E5}" destId="{7B33DA9D-6266-49EB-A99E-B131393C1077}" srcOrd="0" destOrd="0" parTransId="{FCD3B3BE-E554-4CD0-87F7-8E1E26A348DD}" sibTransId="{242A2D8A-868D-4F6F-ADEE-ADA524FAF316}"/>
    <dgm:cxn modelId="{32F3B514-D4EF-49C8-9797-3CBEFDF3481B}" srcId="{64D61782-E54C-4900-8AC0-5F02064C78C2}" destId="{AA88702B-C180-47AF-8E74-9388484113E5}" srcOrd="0" destOrd="0" parTransId="{B398DD24-1185-4152-9C59-5183A0F81508}" sibTransId="{CCA68464-9CBF-4228-AF05-BDB2FBA6FBE7}"/>
    <dgm:cxn modelId="{B2EC5024-319F-4F68-BA8C-7F3E63351D45}" type="presOf" srcId="{523D469A-A0C0-480F-9B39-07179ECA0DA6}" destId="{D0AFD08C-C28D-4B6E-BC73-D6D841C99D29}" srcOrd="0" destOrd="3" presId="urn:microsoft.com/office/officeart/2005/8/layout/hList2"/>
    <dgm:cxn modelId="{4006122A-A49A-4C1D-826D-918F20D1250F}" type="presOf" srcId="{9FB1CE08-AB41-413A-9574-22B6E9A6B541}" destId="{705B2960-5DBA-4490-B31E-33C44441E2C8}" srcOrd="0" destOrd="0" presId="urn:microsoft.com/office/officeart/2005/8/layout/hList2"/>
    <dgm:cxn modelId="{1F2D2434-2936-4C8E-83C0-566684C6BF0E}" type="presOf" srcId="{E772661C-F13A-4443-A146-0DC0C5C375A1}" destId="{D7B49462-AAFF-460E-B7A4-9EA0EC12A709}" srcOrd="0" destOrd="0" presId="urn:microsoft.com/office/officeart/2005/8/layout/hList2"/>
    <dgm:cxn modelId="{26B67035-8C69-4412-B375-5613B2B4AB24}" type="presOf" srcId="{BD303B7C-3D90-4A2E-84AA-9B7767DF626F}" destId="{77143358-F92B-45A6-98DD-A63805EFDC17}" srcOrd="0" destOrd="2" presId="urn:microsoft.com/office/officeart/2005/8/layout/hList2"/>
    <dgm:cxn modelId="{61F6AD38-8FC8-4B65-BC35-2314CEB94090}" srcId="{BE5F0BB1-EC60-49DA-A861-4235DED1C6E3}" destId="{993624FE-AF8A-400A-85E0-D738B6436DF4}" srcOrd="2" destOrd="0" parTransId="{678F4561-EDBF-4DEC-AEC0-FFF372E222BE}" sibTransId="{EEF649A9-9560-464C-9D95-99EAF73EA9EA}"/>
    <dgm:cxn modelId="{69AF5F5B-309B-4F5A-B0B3-D08F51C712E4}" srcId="{331AE247-4E04-45B6-A5F2-B99BEA150912}" destId="{980C95FD-83C1-47F3-96DA-D2E19B2A99C9}" srcOrd="0" destOrd="0" parTransId="{6E595B2D-1DA1-4835-8A83-442454BFC5AD}" sibTransId="{CAA65D0C-ED43-4439-9AA5-1BFF9925D29E}"/>
    <dgm:cxn modelId="{2072DC5E-6433-4D39-9D78-352C929CD7B0}" type="presOf" srcId="{A97DDCA6-25AD-4BBA-9F06-785D6A392A40}" destId="{D0AFD08C-C28D-4B6E-BC73-D6D841C99D29}" srcOrd="0" destOrd="1" presId="urn:microsoft.com/office/officeart/2005/8/layout/hList2"/>
    <dgm:cxn modelId="{AC745A63-81FF-4A5C-B8C2-CF5E438B4836}" type="presOf" srcId="{BE5F0BB1-EC60-49DA-A861-4235DED1C6E3}" destId="{CC76BC62-32E0-4022-9E1C-0A2630E826A7}" srcOrd="0" destOrd="0" presId="urn:microsoft.com/office/officeart/2005/8/layout/hList2"/>
    <dgm:cxn modelId="{D0D0E245-9323-4594-B1B1-6794AD2F5C09}" srcId="{64D61782-E54C-4900-8AC0-5F02064C78C2}" destId="{BE5F0BB1-EC60-49DA-A861-4235DED1C6E3}" srcOrd="3" destOrd="0" parTransId="{E9A9E336-B0E1-4D24-BE60-89F635B752C9}" sibTransId="{EEDF07EF-9D87-4EBC-BC05-A7C513505270}"/>
    <dgm:cxn modelId="{8913C266-68FD-4D3B-9DAF-C9D632101BDF}" type="presOf" srcId="{980C95FD-83C1-47F3-96DA-D2E19B2A99C9}" destId="{77143358-F92B-45A6-98DD-A63805EFDC17}" srcOrd="0" destOrd="1" presId="urn:microsoft.com/office/officeart/2005/8/layout/hList2"/>
    <dgm:cxn modelId="{D0476D47-0F8D-477D-8A3F-E4F38E7A4693}" type="presOf" srcId="{7B33DA9D-6266-49EB-A99E-B131393C1077}" destId="{F73D252C-6763-4D1F-B4D1-BFABA90E94F1}" srcOrd="0" destOrd="0" presId="urn:microsoft.com/office/officeart/2005/8/layout/hList2"/>
    <dgm:cxn modelId="{AF848C68-4126-43DD-B195-FC3A4ED923D1}" srcId="{331AE247-4E04-45B6-A5F2-B99BEA150912}" destId="{BD303B7C-3D90-4A2E-84AA-9B7767DF626F}" srcOrd="1" destOrd="0" parTransId="{1FF9ED35-F53F-4239-A017-F9DBCE92980B}" sibTransId="{3E39145B-504D-4352-BEC2-366AA902CBCE}"/>
    <dgm:cxn modelId="{B83CD769-C856-412B-87C0-BFB1ABCB6890}" type="presOf" srcId="{993624FE-AF8A-400A-85E0-D738B6436DF4}" destId="{D0AFD08C-C28D-4B6E-BC73-D6D841C99D29}" srcOrd="0" destOrd="2" presId="urn:microsoft.com/office/officeart/2005/8/layout/hList2"/>
    <dgm:cxn modelId="{5F799B50-4264-42A6-9A8D-24AEB1022559}" type="presOf" srcId="{64D61782-E54C-4900-8AC0-5F02064C78C2}" destId="{BFB75B7B-5042-42A9-9DEB-A4AC13E2B274}" srcOrd="0" destOrd="0" presId="urn:microsoft.com/office/officeart/2005/8/layout/hList2"/>
    <dgm:cxn modelId="{1240E056-C4A3-4ACA-A2D2-3CEF2D4AA5AC}" type="presOf" srcId="{7FB8EE8C-49E3-4DC4-A30F-E8545247544B}" destId="{D0AFD08C-C28D-4B6E-BC73-D6D841C99D29}" srcOrd="0" destOrd="0" presId="urn:microsoft.com/office/officeart/2005/8/layout/hList2"/>
    <dgm:cxn modelId="{C266CA7F-1969-4C6D-BAA4-45F5D5B272D5}" type="presOf" srcId="{8CB0C90E-13AD-49C1-BEB6-688D82FE2DCE}" destId="{F73D252C-6763-4D1F-B4D1-BFABA90E94F1}" srcOrd="0" destOrd="2" presId="urn:microsoft.com/office/officeart/2005/8/layout/hList2"/>
    <dgm:cxn modelId="{01F3F18C-BB43-474F-82C8-2C35EDFEF037}" srcId="{BE5F0BB1-EC60-49DA-A861-4235DED1C6E3}" destId="{7FB8EE8C-49E3-4DC4-A30F-E8545247544B}" srcOrd="0" destOrd="0" parTransId="{EDB3556B-4E49-437A-A43E-1427469F841C}" sibTransId="{C11807FA-C497-4487-9FAB-5A8181CB08CA}"/>
    <dgm:cxn modelId="{5B184792-5D88-4A17-A65B-C0EED0D2CCC3}" type="presOf" srcId="{331AE247-4E04-45B6-A5F2-B99BEA150912}" destId="{77143358-F92B-45A6-98DD-A63805EFDC17}" srcOrd="0" destOrd="0" presId="urn:microsoft.com/office/officeart/2005/8/layout/hList2"/>
    <dgm:cxn modelId="{58579FA4-92F4-4234-88AA-87BD57FE3039}" srcId="{64D61782-E54C-4900-8AC0-5F02064C78C2}" destId="{E772661C-F13A-4443-A146-0DC0C5C375A1}" srcOrd="2" destOrd="0" parTransId="{3AF81848-6A99-4029-96A3-AB33E63173BD}" sibTransId="{08B9A5FE-B3FF-4013-BCA8-8B3F3F6863F0}"/>
    <dgm:cxn modelId="{D75CA0A7-F2D5-40DD-B0E4-15BBC1199041}" type="presOf" srcId="{9668CAFD-1336-4272-B194-BD733B6A47BE}" destId="{F73D252C-6763-4D1F-B4D1-BFABA90E94F1}" srcOrd="0" destOrd="1" presId="urn:microsoft.com/office/officeart/2005/8/layout/hList2"/>
    <dgm:cxn modelId="{C68C66AA-C34F-436E-9310-6F235D72C933}" srcId="{AA88702B-C180-47AF-8E74-9388484113E5}" destId="{8CB0C90E-13AD-49C1-BEB6-688D82FE2DCE}" srcOrd="2" destOrd="0" parTransId="{0566BD2C-BB57-4D9B-9D1E-ABC5DEA64361}" sibTransId="{5F1CA8E4-6941-43AC-B781-6804649EB1BC}"/>
    <dgm:cxn modelId="{C4E9DABE-04BE-4DB1-B426-70C823827526}" srcId="{BE5F0BB1-EC60-49DA-A861-4235DED1C6E3}" destId="{523D469A-A0C0-480F-9B39-07179ECA0DA6}" srcOrd="3" destOrd="0" parTransId="{3E7C57BA-3931-44B6-A6E3-9F87DD3126B8}" sibTransId="{05832821-CFB0-413C-B627-0B2682CB6EB7}"/>
    <dgm:cxn modelId="{6530B2C2-3CFB-41D0-8920-FE7520670760}" type="presOf" srcId="{AA88702B-C180-47AF-8E74-9388484113E5}" destId="{E651355A-06CE-4C67-B0DC-42A328431529}" srcOrd="0" destOrd="0" presId="urn:microsoft.com/office/officeart/2005/8/layout/hList2"/>
    <dgm:cxn modelId="{0AFED2C7-885D-4CE9-9BF8-18D06F350C59}" srcId="{BE5F0BB1-EC60-49DA-A861-4235DED1C6E3}" destId="{A97DDCA6-25AD-4BBA-9F06-785D6A392A40}" srcOrd="1" destOrd="0" parTransId="{500EED53-E081-4692-AE57-EB51E940D11E}" sibTransId="{F6F77E99-B127-41B9-A6D2-FD79E9489BD8}"/>
    <dgm:cxn modelId="{A7EEBFCB-2D9E-4DB2-91EA-589F6600C550}" srcId="{BE5F0BB1-EC60-49DA-A861-4235DED1C6E3}" destId="{957BE4B2-EB7C-4707-96D8-323E53457AEB}" srcOrd="4" destOrd="0" parTransId="{17C9B469-B25B-4E11-A904-7164A87C4871}" sibTransId="{2AC01472-3EFC-4447-B6E0-B7FF2951B8CA}"/>
    <dgm:cxn modelId="{C54617E2-7EBF-4613-833D-B9B2A8702F08}" srcId="{E772661C-F13A-4443-A146-0DC0C5C375A1}" destId="{9FB1CE08-AB41-413A-9574-22B6E9A6B541}" srcOrd="0" destOrd="0" parTransId="{AB275852-B3AF-4491-8DA5-1B2951DAC4AD}" sibTransId="{11771FF4-9728-4FE8-9A04-DD55C8642C9B}"/>
    <dgm:cxn modelId="{04C0C1F2-45F8-40A6-BB92-DC963C7141E8}" srcId="{AA88702B-C180-47AF-8E74-9388484113E5}" destId="{9668CAFD-1336-4272-B194-BD733B6A47BE}" srcOrd="1" destOrd="0" parTransId="{6F07861D-5DFC-4AAF-9E98-C7239A0BE5CB}" sibTransId="{37C72502-E45B-457B-8403-C5FE94BA0EB5}"/>
    <dgm:cxn modelId="{DAEF27FA-53AC-4871-A1D9-801D1A3F8268}" type="presOf" srcId="{957BE4B2-EB7C-4707-96D8-323E53457AEB}" destId="{D0AFD08C-C28D-4B6E-BC73-D6D841C99D29}" srcOrd="0" destOrd="4" presId="urn:microsoft.com/office/officeart/2005/8/layout/hList2"/>
    <dgm:cxn modelId="{C2AB7EB1-EE1D-4C53-B9F3-46B03A7EDD5E}" type="presParOf" srcId="{BFB75B7B-5042-42A9-9DEB-A4AC13E2B274}" destId="{BF2EE389-56C3-4642-8EB9-9FAD5A99D887}" srcOrd="0" destOrd="0" presId="urn:microsoft.com/office/officeart/2005/8/layout/hList2"/>
    <dgm:cxn modelId="{D8835EB1-1CFD-4304-8ADD-787597C2F886}" type="presParOf" srcId="{BF2EE389-56C3-4642-8EB9-9FAD5A99D887}" destId="{45333189-541A-4F30-AF92-30523A9ECFC3}" srcOrd="0" destOrd="0" presId="urn:microsoft.com/office/officeart/2005/8/layout/hList2"/>
    <dgm:cxn modelId="{9D474485-E39A-4108-B421-2F467DAA2F52}" type="presParOf" srcId="{BF2EE389-56C3-4642-8EB9-9FAD5A99D887}" destId="{F73D252C-6763-4D1F-B4D1-BFABA90E94F1}" srcOrd="1" destOrd="0" presId="urn:microsoft.com/office/officeart/2005/8/layout/hList2"/>
    <dgm:cxn modelId="{AC2E08D1-AA55-42CC-B65C-B3103B71CE0F}" type="presParOf" srcId="{BF2EE389-56C3-4642-8EB9-9FAD5A99D887}" destId="{E651355A-06CE-4C67-B0DC-42A328431529}" srcOrd="2" destOrd="0" presId="urn:microsoft.com/office/officeart/2005/8/layout/hList2"/>
    <dgm:cxn modelId="{F722BA67-6AB8-443D-B066-5816124C62C2}" type="presParOf" srcId="{BFB75B7B-5042-42A9-9DEB-A4AC13E2B274}" destId="{61689C41-3711-4CD3-9B1A-9A81F882E05A}" srcOrd="1" destOrd="0" presId="urn:microsoft.com/office/officeart/2005/8/layout/hList2"/>
    <dgm:cxn modelId="{497BC92E-A735-4C3F-847B-A80194C7D14B}" type="presParOf" srcId="{BFB75B7B-5042-42A9-9DEB-A4AC13E2B274}" destId="{EA4BCDFE-25DF-432E-817C-37667F63AE40}" srcOrd="2" destOrd="0" presId="urn:microsoft.com/office/officeart/2005/8/layout/hList2"/>
    <dgm:cxn modelId="{ACF467B8-6E2A-499B-A9C8-1CD3ECA4C36F}" type="presParOf" srcId="{EA4BCDFE-25DF-432E-817C-37667F63AE40}" destId="{B80678F1-1DC4-4E9F-A5C4-C726A9FACAA7}" srcOrd="0" destOrd="0" presId="urn:microsoft.com/office/officeart/2005/8/layout/hList2"/>
    <dgm:cxn modelId="{121D31D6-A99D-4629-B396-7B3F77BBAFC8}" type="presParOf" srcId="{EA4BCDFE-25DF-432E-817C-37667F63AE40}" destId="{77143358-F92B-45A6-98DD-A63805EFDC17}" srcOrd="1" destOrd="0" presId="urn:microsoft.com/office/officeart/2005/8/layout/hList2"/>
    <dgm:cxn modelId="{E4691854-E3FE-40FB-8894-860CFC4988BE}" type="presParOf" srcId="{EA4BCDFE-25DF-432E-817C-37667F63AE40}" destId="{C02DB932-18F6-4FDC-BAD0-CD022BCC635F}" srcOrd="2" destOrd="0" presId="urn:microsoft.com/office/officeart/2005/8/layout/hList2"/>
    <dgm:cxn modelId="{5870D9B9-9F37-49A2-9C73-6211E9722955}" type="presParOf" srcId="{BFB75B7B-5042-42A9-9DEB-A4AC13E2B274}" destId="{7138DC9F-64EF-4669-BEC2-2A230E9D3C52}" srcOrd="3" destOrd="0" presId="urn:microsoft.com/office/officeart/2005/8/layout/hList2"/>
    <dgm:cxn modelId="{E62EBE27-61C2-4861-82BB-4DC49C5F7167}" type="presParOf" srcId="{BFB75B7B-5042-42A9-9DEB-A4AC13E2B274}" destId="{7A8928C3-EAA9-4343-86D6-7474E01EECC6}" srcOrd="4" destOrd="0" presId="urn:microsoft.com/office/officeart/2005/8/layout/hList2"/>
    <dgm:cxn modelId="{8C059993-7F83-4C9A-A4E9-4F48C0A485D2}" type="presParOf" srcId="{7A8928C3-EAA9-4343-86D6-7474E01EECC6}" destId="{67B5ECA2-6AAF-4604-8D3A-07E06B9CDA56}" srcOrd="0" destOrd="0" presId="urn:microsoft.com/office/officeart/2005/8/layout/hList2"/>
    <dgm:cxn modelId="{31ACDCEE-AF37-4A6C-B3B4-10F7EA33C6A5}" type="presParOf" srcId="{7A8928C3-EAA9-4343-86D6-7474E01EECC6}" destId="{705B2960-5DBA-4490-B31E-33C44441E2C8}" srcOrd="1" destOrd="0" presId="urn:microsoft.com/office/officeart/2005/8/layout/hList2"/>
    <dgm:cxn modelId="{396B75C4-3C49-43B1-AB78-7429EDFA1484}" type="presParOf" srcId="{7A8928C3-EAA9-4343-86D6-7474E01EECC6}" destId="{D7B49462-AAFF-460E-B7A4-9EA0EC12A709}" srcOrd="2" destOrd="0" presId="urn:microsoft.com/office/officeart/2005/8/layout/hList2"/>
    <dgm:cxn modelId="{1F0E17F1-8AC4-4F32-A4C2-4E946BCDF131}" type="presParOf" srcId="{BFB75B7B-5042-42A9-9DEB-A4AC13E2B274}" destId="{D922589E-05C2-4502-BDBB-D6EAC76C3135}" srcOrd="5" destOrd="0" presId="urn:microsoft.com/office/officeart/2005/8/layout/hList2"/>
    <dgm:cxn modelId="{C585C4E3-B022-426B-B0B8-2AEA23F8FA7D}" type="presParOf" srcId="{BFB75B7B-5042-42A9-9DEB-A4AC13E2B274}" destId="{2B7E2364-6BFF-433E-B5D0-0306197A284F}" srcOrd="6" destOrd="0" presId="urn:microsoft.com/office/officeart/2005/8/layout/hList2"/>
    <dgm:cxn modelId="{8CC62F9E-1C86-4A34-9DC2-C2F41D7329E9}" type="presParOf" srcId="{2B7E2364-6BFF-433E-B5D0-0306197A284F}" destId="{873CC04C-48B2-4B85-8EC9-40612DE49D45}" srcOrd="0" destOrd="0" presId="urn:microsoft.com/office/officeart/2005/8/layout/hList2"/>
    <dgm:cxn modelId="{28D35B6F-A045-43DB-A2E0-7D6AC4019E90}" type="presParOf" srcId="{2B7E2364-6BFF-433E-B5D0-0306197A284F}" destId="{D0AFD08C-C28D-4B6E-BC73-D6D841C99D29}" srcOrd="1" destOrd="0" presId="urn:microsoft.com/office/officeart/2005/8/layout/hList2"/>
    <dgm:cxn modelId="{AAE2BCDE-6DD5-4EC9-AD80-6B5CD7E62804}" type="presParOf" srcId="{2B7E2364-6BFF-433E-B5D0-0306197A284F}" destId="{CC76BC62-32E0-4022-9E1C-0A2630E826A7}" srcOrd="2" destOrd="0" presId="urn:microsoft.com/office/officeart/2005/8/layout/hList2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4974FBC-3C6C-4CE4-A6F7-0A83F4CF9511}" type="doc">
      <dgm:prSet loTypeId="urn:microsoft.com/office/officeart/2008/layout/VerticalCurvedList" loCatId="list" qsTypeId="urn:microsoft.com/office/officeart/2005/8/quickstyle/simple3" qsCatId="simple" csTypeId="urn:microsoft.com/office/officeart/2005/8/colors/accent2_1" csCatId="accent2" phldr="1"/>
      <dgm:spPr/>
      <dgm:t>
        <a:bodyPr/>
        <a:lstStyle/>
        <a:p>
          <a:endParaRPr lang="en-US"/>
        </a:p>
      </dgm:t>
    </dgm:pt>
    <dgm:pt modelId="{DDDFCA0F-8729-4DF6-89B1-AFC8F55CFC84}">
      <dgm:prSet/>
      <dgm:spPr/>
      <dgm:t>
        <a:bodyPr/>
        <a:lstStyle/>
        <a:p>
          <a:r>
            <a:rPr lang="en-US" b="1" dirty="0"/>
            <a:t>Acknowledge</a:t>
          </a:r>
          <a:r>
            <a:rPr lang="en-US" dirty="0"/>
            <a:t> the key role of offshore renewables at G20 ministerial level.</a:t>
          </a:r>
        </a:p>
      </dgm:t>
    </dgm:pt>
    <dgm:pt modelId="{217B9CAE-1852-4143-B1EC-193EC9634571}" type="parTrans" cxnId="{01FD8D28-C20F-4E17-95E8-D02E346CD75F}">
      <dgm:prSet/>
      <dgm:spPr/>
      <dgm:t>
        <a:bodyPr/>
        <a:lstStyle/>
        <a:p>
          <a:endParaRPr lang="en-US"/>
        </a:p>
      </dgm:t>
    </dgm:pt>
    <dgm:pt modelId="{DDB89360-A564-4086-862C-09822A8E2B82}" type="sibTrans" cxnId="{01FD8D28-C20F-4E17-95E8-D02E346CD75F}">
      <dgm:prSet/>
      <dgm:spPr>
        <a:solidFill>
          <a:srgbClr val="BAE3ED"/>
        </a:solidFill>
        <a:ln>
          <a:solidFill>
            <a:srgbClr val="BAE3ED"/>
          </a:solidFill>
        </a:ln>
      </dgm:spPr>
      <dgm:t>
        <a:bodyPr/>
        <a:lstStyle/>
        <a:p>
          <a:endParaRPr lang="en-US"/>
        </a:p>
      </dgm:t>
    </dgm:pt>
    <dgm:pt modelId="{A3ECFD93-96BE-4638-B019-C473068BDF3C}">
      <dgm:prSet/>
      <dgm:spPr/>
      <dgm:t>
        <a:bodyPr/>
        <a:lstStyle/>
        <a:p>
          <a:r>
            <a:rPr lang="en-US" dirty="0"/>
            <a:t>G20 to </a:t>
          </a:r>
          <a:r>
            <a:rPr lang="en-US" b="1" dirty="0"/>
            <a:t>cooperate</a:t>
          </a:r>
          <a:r>
            <a:rPr lang="en-US" dirty="0"/>
            <a:t> with IRENA’s Collaborative Framework to </a:t>
          </a:r>
          <a:r>
            <a:rPr lang="en-US" b="1" dirty="0"/>
            <a:t>collect</a:t>
          </a:r>
          <a:r>
            <a:rPr lang="en-US" dirty="0"/>
            <a:t> and disseminate key data on Offshore Renewables. </a:t>
          </a:r>
        </a:p>
      </dgm:t>
    </dgm:pt>
    <dgm:pt modelId="{15481D08-DA2F-4FE6-8714-F32D06181192}" type="parTrans" cxnId="{3F083A90-6FF8-4058-855C-B8A20E36EAB6}">
      <dgm:prSet/>
      <dgm:spPr/>
      <dgm:t>
        <a:bodyPr/>
        <a:lstStyle/>
        <a:p>
          <a:endParaRPr lang="en-US"/>
        </a:p>
      </dgm:t>
    </dgm:pt>
    <dgm:pt modelId="{39A74BA9-AC61-4A05-B505-4DE18339B9EA}" type="sibTrans" cxnId="{3F083A90-6FF8-4058-855C-B8A20E36EAB6}">
      <dgm:prSet/>
      <dgm:spPr/>
      <dgm:t>
        <a:bodyPr/>
        <a:lstStyle/>
        <a:p>
          <a:endParaRPr lang="en-US"/>
        </a:p>
      </dgm:t>
    </dgm:pt>
    <dgm:pt modelId="{BAE79C24-B449-4599-81AF-E75984E34601}">
      <dgm:prSet/>
      <dgm:spPr/>
      <dgm:t>
        <a:bodyPr/>
        <a:lstStyle/>
        <a:p>
          <a:r>
            <a:rPr lang="en-US" b="1" dirty="0"/>
            <a:t>Promote</a:t>
          </a:r>
          <a:r>
            <a:rPr lang="en-US" dirty="0"/>
            <a:t> G20 countries to include offshore renewables in national energy and climate policies -e.g. NDCs.</a:t>
          </a:r>
        </a:p>
      </dgm:t>
    </dgm:pt>
    <dgm:pt modelId="{A451344B-E9DF-433A-8F1B-4496FC2F4D02}" type="parTrans" cxnId="{6A215077-26DB-4248-9C08-0976EA1E51C0}">
      <dgm:prSet/>
      <dgm:spPr/>
      <dgm:t>
        <a:bodyPr/>
        <a:lstStyle/>
        <a:p>
          <a:endParaRPr lang="en-US"/>
        </a:p>
      </dgm:t>
    </dgm:pt>
    <dgm:pt modelId="{B5EE334A-08B5-4989-AFD2-D09DACE98B00}" type="sibTrans" cxnId="{6A215077-26DB-4248-9C08-0976EA1E51C0}">
      <dgm:prSet/>
      <dgm:spPr/>
      <dgm:t>
        <a:bodyPr/>
        <a:lstStyle/>
        <a:p>
          <a:endParaRPr lang="en-US"/>
        </a:p>
      </dgm:t>
    </dgm:pt>
    <dgm:pt modelId="{BEC8861D-7F0F-4B1F-9A75-53036EFA1FD4}">
      <dgm:prSet/>
      <dgm:spPr/>
      <dgm:t>
        <a:bodyPr/>
        <a:lstStyle/>
        <a:p>
          <a:r>
            <a:rPr lang="en-US" b="1" dirty="0"/>
            <a:t>Support</a:t>
          </a:r>
          <a:r>
            <a:rPr lang="en-US" dirty="0"/>
            <a:t> increase public investments in RD&amp;D for all offshore renewable technologies.</a:t>
          </a:r>
        </a:p>
      </dgm:t>
    </dgm:pt>
    <dgm:pt modelId="{56A408B7-BBD3-42E5-92B0-6A6090C2FF17}" type="parTrans" cxnId="{A2942E3D-AB00-43E1-95E7-30851BDE7AF7}">
      <dgm:prSet/>
      <dgm:spPr/>
      <dgm:t>
        <a:bodyPr/>
        <a:lstStyle/>
        <a:p>
          <a:endParaRPr lang="en-US"/>
        </a:p>
      </dgm:t>
    </dgm:pt>
    <dgm:pt modelId="{24BC215C-1BF5-4EBB-957E-85C42284C7D9}" type="sibTrans" cxnId="{A2942E3D-AB00-43E1-95E7-30851BDE7AF7}">
      <dgm:prSet/>
      <dgm:spPr/>
      <dgm:t>
        <a:bodyPr/>
        <a:lstStyle/>
        <a:p>
          <a:endParaRPr lang="en-US"/>
        </a:p>
      </dgm:t>
    </dgm:pt>
    <dgm:pt modelId="{8A633DCA-F45D-44D2-A3A8-ECBDED315A54}">
      <dgm:prSet/>
      <dgm:spPr/>
      <dgm:t>
        <a:bodyPr/>
        <a:lstStyle/>
        <a:p>
          <a:r>
            <a:rPr lang="en-US" b="1" dirty="0"/>
            <a:t>Design</a:t>
          </a:r>
          <a:r>
            <a:rPr lang="en-US" dirty="0"/>
            <a:t> and </a:t>
          </a:r>
          <a:r>
            <a:rPr lang="en-US" b="1" dirty="0"/>
            <a:t>implement</a:t>
          </a:r>
          <a:r>
            <a:rPr lang="en-US" dirty="0"/>
            <a:t> joint RD&amp;D projects at commercial scale</a:t>
          </a:r>
        </a:p>
      </dgm:t>
    </dgm:pt>
    <dgm:pt modelId="{0D3B048C-1A2D-4737-9C30-7573E5112AD3}" type="parTrans" cxnId="{7EBA24EE-53F2-4AB8-A1C9-817581968439}">
      <dgm:prSet/>
      <dgm:spPr/>
      <dgm:t>
        <a:bodyPr/>
        <a:lstStyle/>
        <a:p>
          <a:endParaRPr lang="en-US"/>
        </a:p>
      </dgm:t>
    </dgm:pt>
    <dgm:pt modelId="{C1153F92-D0EA-4523-9FF4-FCE4D005A9F2}" type="sibTrans" cxnId="{7EBA24EE-53F2-4AB8-A1C9-817581968439}">
      <dgm:prSet/>
      <dgm:spPr/>
      <dgm:t>
        <a:bodyPr/>
        <a:lstStyle/>
        <a:p>
          <a:endParaRPr lang="en-US"/>
        </a:p>
      </dgm:t>
    </dgm:pt>
    <dgm:pt modelId="{147B79AD-E927-4138-8AC7-869A009A2B3C}">
      <dgm:prSet/>
      <dgm:spPr/>
      <dgm:t>
        <a:bodyPr/>
        <a:lstStyle/>
        <a:p>
          <a:r>
            <a:rPr lang="en-US" b="1" dirty="0"/>
            <a:t>Promote</a:t>
          </a:r>
          <a:r>
            <a:rPr lang="en-US" dirty="0"/>
            <a:t> public-private partnerships for innovative offshore renewables like offshore wind-to-hydrogen generation units.</a:t>
          </a:r>
        </a:p>
      </dgm:t>
    </dgm:pt>
    <dgm:pt modelId="{4D9E819B-13BB-40FE-BE60-2C365015422C}" type="parTrans" cxnId="{3F58F474-B6DB-47D6-B353-41D02089FD85}">
      <dgm:prSet/>
      <dgm:spPr/>
      <dgm:t>
        <a:bodyPr/>
        <a:lstStyle/>
        <a:p>
          <a:endParaRPr lang="en-US"/>
        </a:p>
      </dgm:t>
    </dgm:pt>
    <dgm:pt modelId="{CD0DA6C5-5CA1-4F2E-910C-77722EE61AEB}" type="sibTrans" cxnId="{3F58F474-B6DB-47D6-B353-41D02089FD85}">
      <dgm:prSet/>
      <dgm:spPr/>
      <dgm:t>
        <a:bodyPr/>
        <a:lstStyle/>
        <a:p>
          <a:endParaRPr lang="en-US"/>
        </a:p>
      </dgm:t>
    </dgm:pt>
    <dgm:pt modelId="{BC617AD5-CF6C-4316-86FB-A0D9225DF18B}">
      <dgm:prSet/>
      <dgm:spPr/>
      <dgm:t>
        <a:bodyPr/>
        <a:lstStyle/>
        <a:p>
          <a:r>
            <a:rPr lang="en-US" b="1" dirty="0"/>
            <a:t>Identify</a:t>
          </a:r>
          <a:r>
            <a:rPr lang="en-US" dirty="0"/>
            <a:t> and </a:t>
          </a:r>
          <a:r>
            <a:rPr lang="en-US" b="1" dirty="0"/>
            <a:t>promote</a:t>
          </a:r>
          <a:r>
            <a:rPr lang="en-US" dirty="0"/>
            <a:t> innovative financing mechanisms for offshore renewable technologies within the “Finance Track” of the G20.</a:t>
          </a:r>
        </a:p>
      </dgm:t>
    </dgm:pt>
    <dgm:pt modelId="{99D4283C-6801-4B86-B000-47B964C57FE9}" type="parTrans" cxnId="{7BBC545A-35C1-47D8-8EDD-0ED524F5FD31}">
      <dgm:prSet/>
      <dgm:spPr/>
      <dgm:t>
        <a:bodyPr/>
        <a:lstStyle/>
        <a:p>
          <a:endParaRPr lang="en-US"/>
        </a:p>
      </dgm:t>
    </dgm:pt>
    <dgm:pt modelId="{AD15A0DF-9FF6-47C2-B93F-72FF6976C49B}" type="sibTrans" cxnId="{7BBC545A-35C1-47D8-8EDD-0ED524F5FD31}">
      <dgm:prSet/>
      <dgm:spPr/>
      <dgm:t>
        <a:bodyPr/>
        <a:lstStyle/>
        <a:p>
          <a:endParaRPr lang="en-US"/>
        </a:p>
      </dgm:t>
    </dgm:pt>
    <dgm:pt modelId="{9B967F12-D282-4565-8670-17DE84B402D7}" type="pres">
      <dgm:prSet presAssocID="{B4974FBC-3C6C-4CE4-A6F7-0A83F4CF9511}" presName="Name0" presStyleCnt="0">
        <dgm:presLayoutVars>
          <dgm:chMax val="7"/>
          <dgm:chPref val="7"/>
          <dgm:dir/>
        </dgm:presLayoutVars>
      </dgm:prSet>
      <dgm:spPr/>
    </dgm:pt>
    <dgm:pt modelId="{553640CF-0DD7-4A11-B9C8-CEC1AC9DC969}" type="pres">
      <dgm:prSet presAssocID="{B4974FBC-3C6C-4CE4-A6F7-0A83F4CF9511}" presName="Name1" presStyleCnt="0"/>
      <dgm:spPr/>
    </dgm:pt>
    <dgm:pt modelId="{D9D260EB-65E4-4D98-A1FF-0DED21F80264}" type="pres">
      <dgm:prSet presAssocID="{B4974FBC-3C6C-4CE4-A6F7-0A83F4CF9511}" presName="cycle" presStyleCnt="0"/>
      <dgm:spPr/>
    </dgm:pt>
    <dgm:pt modelId="{D4EBA633-AB73-4EE3-9DFD-9798586EB4E6}" type="pres">
      <dgm:prSet presAssocID="{B4974FBC-3C6C-4CE4-A6F7-0A83F4CF9511}" presName="srcNode" presStyleLbl="node1" presStyleIdx="0" presStyleCnt="7"/>
      <dgm:spPr/>
    </dgm:pt>
    <dgm:pt modelId="{086937C3-84EA-4D01-815B-C9B4599AF65A}" type="pres">
      <dgm:prSet presAssocID="{B4974FBC-3C6C-4CE4-A6F7-0A83F4CF9511}" presName="conn" presStyleLbl="parChTrans1D2" presStyleIdx="0" presStyleCnt="1"/>
      <dgm:spPr/>
    </dgm:pt>
    <dgm:pt modelId="{44538208-D7B4-4B65-A582-02B415A2B701}" type="pres">
      <dgm:prSet presAssocID="{B4974FBC-3C6C-4CE4-A6F7-0A83F4CF9511}" presName="extraNode" presStyleLbl="node1" presStyleIdx="0" presStyleCnt="7"/>
      <dgm:spPr/>
    </dgm:pt>
    <dgm:pt modelId="{21B47D6E-FAC8-490A-968E-B7E83CCEB542}" type="pres">
      <dgm:prSet presAssocID="{B4974FBC-3C6C-4CE4-A6F7-0A83F4CF9511}" presName="dstNode" presStyleLbl="node1" presStyleIdx="0" presStyleCnt="7"/>
      <dgm:spPr/>
    </dgm:pt>
    <dgm:pt modelId="{6C0CC521-B337-4486-842E-B44CEAD72007}" type="pres">
      <dgm:prSet presAssocID="{DDDFCA0F-8729-4DF6-89B1-AFC8F55CFC84}" presName="text_1" presStyleLbl="node1" presStyleIdx="0" presStyleCnt="7">
        <dgm:presLayoutVars>
          <dgm:bulletEnabled val="1"/>
        </dgm:presLayoutVars>
      </dgm:prSet>
      <dgm:spPr/>
    </dgm:pt>
    <dgm:pt modelId="{2302F9F3-1C4D-4054-938C-619391EB46D4}" type="pres">
      <dgm:prSet presAssocID="{DDDFCA0F-8729-4DF6-89B1-AFC8F55CFC84}" presName="accent_1" presStyleCnt="0"/>
      <dgm:spPr/>
    </dgm:pt>
    <dgm:pt modelId="{217F7079-7386-4A28-A6B0-83473D0085E0}" type="pres">
      <dgm:prSet presAssocID="{DDDFCA0F-8729-4DF6-89B1-AFC8F55CFC84}" presName="accentRepeatNode" presStyleLbl="solidFgAcc1" presStyleIdx="0" presStyleCnt="7"/>
      <dgm:spPr>
        <a:solidFill>
          <a:srgbClr val="BAE3ED"/>
        </a:solidFill>
        <a:ln>
          <a:solidFill>
            <a:schemeClr val="bg1"/>
          </a:solidFill>
        </a:ln>
      </dgm:spPr>
    </dgm:pt>
    <dgm:pt modelId="{87F59655-F1CB-4060-BF1C-AE0EB72E78CD}" type="pres">
      <dgm:prSet presAssocID="{A3ECFD93-96BE-4638-B019-C473068BDF3C}" presName="text_2" presStyleLbl="node1" presStyleIdx="1" presStyleCnt="7">
        <dgm:presLayoutVars>
          <dgm:bulletEnabled val="1"/>
        </dgm:presLayoutVars>
      </dgm:prSet>
      <dgm:spPr/>
    </dgm:pt>
    <dgm:pt modelId="{5B584A0A-04F2-42F4-B13F-BFF689EDCD8D}" type="pres">
      <dgm:prSet presAssocID="{A3ECFD93-96BE-4638-B019-C473068BDF3C}" presName="accent_2" presStyleCnt="0"/>
      <dgm:spPr/>
    </dgm:pt>
    <dgm:pt modelId="{FF5D9E47-29EA-4F5B-B13E-7FC6670697CD}" type="pres">
      <dgm:prSet presAssocID="{A3ECFD93-96BE-4638-B019-C473068BDF3C}" presName="accentRepeatNode" presStyleLbl="solidFgAcc1" presStyleIdx="1" presStyleCnt="7"/>
      <dgm:spPr>
        <a:solidFill>
          <a:srgbClr val="BAE3ED"/>
        </a:solidFill>
        <a:ln>
          <a:solidFill>
            <a:schemeClr val="bg1"/>
          </a:solidFill>
        </a:ln>
      </dgm:spPr>
    </dgm:pt>
    <dgm:pt modelId="{320D76A9-81F6-48B8-B7D7-C18EB3CE9B40}" type="pres">
      <dgm:prSet presAssocID="{BAE79C24-B449-4599-81AF-E75984E34601}" presName="text_3" presStyleLbl="node1" presStyleIdx="2" presStyleCnt="7">
        <dgm:presLayoutVars>
          <dgm:bulletEnabled val="1"/>
        </dgm:presLayoutVars>
      </dgm:prSet>
      <dgm:spPr/>
    </dgm:pt>
    <dgm:pt modelId="{EAACF28C-B1B1-474B-A1A9-649EA810A055}" type="pres">
      <dgm:prSet presAssocID="{BAE79C24-B449-4599-81AF-E75984E34601}" presName="accent_3" presStyleCnt="0"/>
      <dgm:spPr/>
    </dgm:pt>
    <dgm:pt modelId="{4D85C446-53CC-4A08-BF31-43075A800E7C}" type="pres">
      <dgm:prSet presAssocID="{BAE79C24-B449-4599-81AF-E75984E34601}" presName="accentRepeatNode" presStyleLbl="solidFgAcc1" presStyleIdx="2" presStyleCnt="7"/>
      <dgm:spPr>
        <a:solidFill>
          <a:srgbClr val="BAE3ED"/>
        </a:solidFill>
        <a:ln>
          <a:solidFill>
            <a:schemeClr val="bg1"/>
          </a:solidFill>
        </a:ln>
      </dgm:spPr>
    </dgm:pt>
    <dgm:pt modelId="{8A64C8AA-C7CD-4906-B824-8F2A57550E5F}" type="pres">
      <dgm:prSet presAssocID="{BEC8861D-7F0F-4B1F-9A75-53036EFA1FD4}" presName="text_4" presStyleLbl="node1" presStyleIdx="3" presStyleCnt="7">
        <dgm:presLayoutVars>
          <dgm:bulletEnabled val="1"/>
        </dgm:presLayoutVars>
      </dgm:prSet>
      <dgm:spPr/>
    </dgm:pt>
    <dgm:pt modelId="{950EA037-F6F9-4816-BAC0-EA0CD96B7838}" type="pres">
      <dgm:prSet presAssocID="{BEC8861D-7F0F-4B1F-9A75-53036EFA1FD4}" presName="accent_4" presStyleCnt="0"/>
      <dgm:spPr/>
    </dgm:pt>
    <dgm:pt modelId="{AB1795B9-EC74-4F95-84B8-247D948DD177}" type="pres">
      <dgm:prSet presAssocID="{BEC8861D-7F0F-4B1F-9A75-53036EFA1FD4}" presName="accentRepeatNode" presStyleLbl="solidFgAcc1" presStyleIdx="3" presStyleCnt="7"/>
      <dgm:spPr>
        <a:solidFill>
          <a:srgbClr val="BAE3ED"/>
        </a:solidFill>
        <a:ln>
          <a:solidFill>
            <a:schemeClr val="bg1"/>
          </a:solidFill>
        </a:ln>
      </dgm:spPr>
    </dgm:pt>
    <dgm:pt modelId="{05391EB1-6D6B-4245-A876-0B5DAC501DA0}" type="pres">
      <dgm:prSet presAssocID="{8A633DCA-F45D-44D2-A3A8-ECBDED315A54}" presName="text_5" presStyleLbl="node1" presStyleIdx="4" presStyleCnt="7">
        <dgm:presLayoutVars>
          <dgm:bulletEnabled val="1"/>
        </dgm:presLayoutVars>
      </dgm:prSet>
      <dgm:spPr/>
    </dgm:pt>
    <dgm:pt modelId="{229A469A-DD16-4C71-9684-052440405F8C}" type="pres">
      <dgm:prSet presAssocID="{8A633DCA-F45D-44D2-A3A8-ECBDED315A54}" presName="accent_5" presStyleCnt="0"/>
      <dgm:spPr/>
    </dgm:pt>
    <dgm:pt modelId="{FBE84F6D-277E-4A6F-92E3-131472CD7F7C}" type="pres">
      <dgm:prSet presAssocID="{8A633DCA-F45D-44D2-A3A8-ECBDED315A54}" presName="accentRepeatNode" presStyleLbl="solidFgAcc1" presStyleIdx="4" presStyleCnt="7"/>
      <dgm:spPr>
        <a:solidFill>
          <a:srgbClr val="BAE3ED"/>
        </a:solidFill>
        <a:ln>
          <a:solidFill>
            <a:schemeClr val="bg1"/>
          </a:solidFill>
        </a:ln>
      </dgm:spPr>
    </dgm:pt>
    <dgm:pt modelId="{037BB9FC-1E6D-4932-A1D8-C86975408FF0}" type="pres">
      <dgm:prSet presAssocID="{147B79AD-E927-4138-8AC7-869A009A2B3C}" presName="text_6" presStyleLbl="node1" presStyleIdx="5" presStyleCnt="7">
        <dgm:presLayoutVars>
          <dgm:bulletEnabled val="1"/>
        </dgm:presLayoutVars>
      </dgm:prSet>
      <dgm:spPr/>
    </dgm:pt>
    <dgm:pt modelId="{F9022FD1-DCB4-4FAF-9AAB-CA8C6FEFC2E2}" type="pres">
      <dgm:prSet presAssocID="{147B79AD-E927-4138-8AC7-869A009A2B3C}" presName="accent_6" presStyleCnt="0"/>
      <dgm:spPr/>
    </dgm:pt>
    <dgm:pt modelId="{AD12F6F4-5710-497A-82A5-322D21F71A44}" type="pres">
      <dgm:prSet presAssocID="{147B79AD-E927-4138-8AC7-869A009A2B3C}" presName="accentRepeatNode" presStyleLbl="solidFgAcc1" presStyleIdx="5" presStyleCnt="7"/>
      <dgm:spPr>
        <a:solidFill>
          <a:srgbClr val="BAE3ED"/>
        </a:solidFill>
        <a:ln>
          <a:solidFill>
            <a:schemeClr val="bg1"/>
          </a:solidFill>
        </a:ln>
      </dgm:spPr>
    </dgm:pt>
    <dgm:pt modelId="{61A4F6C9-0F70-4E56-9DF9-62EA6B36ABBE}" type="pres">
      <dgm:prSet presAssocID="{BC617AD5-CF6C-4316-86FB-A0D9225DF18B}" presName="text_7" presStyleLbl="node1" presStyleIdx="6" presStyleCnt="7">
        <dgm:presLayoutVars>
          <dgm:bulletEnabled val="1"/>
        </dgm:presLayoutVars>
      </dgm:prSet>
      <dgm:spPr/>
    </dgm:pt>
    <dgm:pt modelId="{AA922CDB-2CAE-4C8D-9E26-0831EC768F09}" type="pres">
      <dgm:prSet presAssocID="{BC617AD5-CF6C-4316-86FB-A0D9225DF18B}" presName="accent_7" presStyleCnt="0"/>
      <dgm:spPr/>
    </dgm:pt>
    <dgm:pt modelId="{474FD2FF-F5D4-435F-8A5B-589B13D5A4D2}" type="pres">
      <dgm:prSet presAssocID="{BC617AD5-CF6C-4316-86FB-A0D9225DF18B}" presName="accentRepeatNode" presStyleLbl="solidFgAcc1" presStyleIdx="6" presStyleCnt="7"/>
      <dgm:spPr>
        <a:solidFill>
          <a:srgbClr val="BAE3ED"/>
        </a:solidFill>
        <a:ln>
          <a:solidFill>
            <a:schemeClr val="bg1"/>
          </a:solidFill>
        </a:ln>
      </dgm:spPr>
    </dgm:pt>
  </dgm:ptLst>
  <dgm:cxnLst>
    <dgm:cxn modelId="{3F352310-EFE1-4FF9-8C50-3312DA13D4C4}" type="presOf" srcId="{BC617AD5-CF6C-4316-86FB-A0D9225DF18B}" destId="{61A4F6C9-0F70-4E56-9DF9-62EA6B36ABBE}" srcOrd="0" destOrd="0" presId="urn:microsoft.com/office/officeart/2008/layout/VerticalCurvedList"/>
    <dgm:cxn modelId="{01FD8D28-C20F-4E17-95E8-D02E346CD75F}" srcId="{B4974FBC-3C6C-4CE4-A6F7-0A83F4CF9511}" destId="{DDDFCA0F-8729-4DF6-89B1-AFC8F55CFC84}" srcOrd="0" destOrd="0" parTransId="{217B9CAE-1852-4143-B1EC-193EC9634571}" sibTransId="{DDB89360-A564-4086-862C-09822A8E2B82}"/>
    <dgm:cxn modelId="{A2942E3D-AB00-43E1-95E7-30851BDE7AF7}" srcId="{B4974FBC-3C6C-4CE4-A6F7-0A83F4CF9511}" destId="{BEC8861D-7F0F-4B1F-9A75-53036EFA1FD4}" srcOrd="3" destOrd="0" parTransId="{56A408B7-BBD3-42E5-92B0-6A6090C2FF17}" sibTransId="{24BC215C-1BF5-4EBB-957E-85C42284C7D9}"/>
    <dgm:cxn modelId="{1A2CD33D-8660-45F1-9E8C-37224C7403CC}" type="presOf" srcId="{DDB89360-A564-4086-862C-09822A8E2B82}" destId="{086937C3-84EA-4D01-815B-C9B4599AF65A}" srcOrd="0" destOrd="0" presId="urn:microsoft.com/office/officeart/2008/layout/VerticalCurvedList"/>
    <dgm:cxn modelId="{D157836C-C8FE-4299-B0EB-0AFDCF028D43}" type="presOf" srcId="{8A633DCA-F45D-44D2-A3A8-ECBDED315A54}" destId="{05391EB1-6D6B-4245-A876-0B5DAC501DA0}" srcOrd="0" destOrd="0" presId="urn:microsoft.com/office/officeart/2008/layout/VerticalCurvedList"/>
    <dgm:cxn modelId="{3F58F474-B6DB-47D6-B353-41D02089FD85}" srcId="{B4974FBC-3C6C-4CE4-A6F7-0A83F4CF9511}" destId="{147B79AD-E927-4138-8AC7-869A009A2B3C}" srcOrd="5" destOrd="0" parTransId="{4D9E819B-13BB-40FE-BE60-2C365015422C}" sibTransId="{CD0DA6C5-5CA1-4F2E-910C-77722EE61AEB}"/>
    <dgm:cxn modelId="{6A215077-26DB-4248-9C08-0976EA1E51C0}" srcId="{B4974FBC-3C6C-4CE4-A6F7-0A83F4CF9511}" destId="{BAE79C24-B449-4599-81AF-E75984E34601}" srcOrd="2" destOrd="0" parTransId="{A451344B-E9DF-433A-8F1B-4496FC2F4D02}" sibTransId="{B5EE334A-08B5-4989-AFD2-D09DACE98B00}"/>
    <dgm:cxn modelId="{7BBC545A-35C1-47D8-8EDD-0ED524F5FD31}" srcId="{B4974FBC-3C6C-4CE4-A6F7-0A83F4CF9511}" destId="{BC617AD5-CF6C-4316-86FB-A0D9225DF18B}" srcOrd="6" destOrd="0" parTransId="{99D4283C-6801-4B86-B000-47B964C57FE9}" sibTransId="{AD15A0DF-9FF6-47C2-B93F-72FF6976C49B}"/>
    <dgm:cxn modelId="{3F083A90-6FF8-4058-855C-B8A20E36EAB6}" srcId="{B4974FBC-3C6C-4CE4-A6F7-0A83F4CF9511}" destId="{A3ECFD93-96BE-4638-B019-C473068BDF3C}" srcOrd="1" destOrd="0" parTransId="{15481D08-DA2F-4FE6-8714-F32D06181192}" sibTransId="{39A74BA9-AC61-4A05-B505-4DE18339B9EA}"/>
    <dgm:cxn modelId="{81A9A497-E8B0-440F-A054-EF62937252FB}" type="presOf" srcId="{BAE79C24-B449-4599-81AF-E75984E34601}" destId="{320D76A9-81F6-48B8-B7D7-C18EB3CE9B40}" srcOrd="0" destOrd="0" presId="urn:microsoft.com/office/officeart/2008/layout/VerticalCurvedList"/>
    <dgm:cxn modelId="{2A9CC99F-7574-4956-AEB1-3AA201E4B32E}" type="presOf" srcId="{DDDFCA0F-8729-4DF6-89B1-AFC8F55CFC84}" destId="{6C0CC521-B337-4486-842E-B44CEAD72007}" srcOrd="0" destOrd="0" presId="urn:microsoft.com/office/officeart/2008/layout/VerticalCurvedList"/>
    <dgm:cxn modelId="{519EE0AC-6237-47F8-9339-E72B5282D112}" type="presOf" srcId="{147B79AD-E927-4138-8AC7-869A009A2B3C}" destId="{037BB9FC-1E6D-4932-A1D8-C86975408FF0}" srcOrd="0" destOrd="0" presId="urn:microsoft.com/office/officeart/2008/layout/VerticalCurvedList"/>
    <dgm:cxn modelId="{63F04BAF-C481-482D-AF80-86C67DB87768}" type="presOf" srcId="{B4974FBC-3C6C-4CE4-A6F7-0A83F4CF9511}" destId="{9B967F12-D282-4565-8670-17DE84B402D7}" srcOrd="0" destOrd="0" presId="urn:microsoft.com/office/officeart/2008/layout/VerticalCurvedList"/>
    <dgm:cxn modelId="{AB3366EB-F1A2-4B66-A817-DC1FCF15B4FA}" type="presOf" srcId="{A3ECFD93-96BE-4638-B019-C473068BDF3C}" destId="{87F59655-F1CB-4060-BF1C-AE0EB72E78CD}" srcOrd="0" destOrd="0" presId="urn:microsoft.com/office/officeart/2008/layout/VerticalCurvedList"/>
    <dgm:cxn modelId="{7EBA24EE-53F2-4AB8-A1C9-817581968439}" srcId="{B4974FBC-3C6C-4CE4-A6F7-0A83F4CF9511}" destId="{8A633DCA-F45D-44D2-A3A8-ECBDED315A54}" srcOrd="4" destOrd="0" parTransId="{0D3B048C-1A2D-4737-9C30-7573E5112AD3}" sibTransId="{C1153F92-D0EA-4523-9FF4-FCE4D005A9F2}"/>
    <dgm:cxn modelId="{8FE04BFC-6153-48D5-9F67-355E2443C5D6}" type="presOf" srcId="{BEC8861D-7F0F-4B1F-9A75-53036EFA1FD4}" destId="{8A64C8AA-C7CD-4906-B824-8F2A57550E5F}" srcOrd="0" destOrd="0" presId="urn:microsoft.com/office/officeart/2008/layout/VerticalCurvedList"/>
    <dgm:cxn modelId="{167B9613-3380-40DC-A057-98E10D719891}" type="presParOf" srcId="{9B967F12-D282-4565-8670-17DE84B402D7}" destId="{553640CF-0DD7-4A11-B9C8-CEC1AC9DC969}" srcOrd="0" destOrd="0" presId="urn:microsoft.com/office/officeart/2008/layout/VerticalCurvedList"/>
    <dgm:cxn modelId="{0A3172E4-CD6E-4D4A-8388-94F6DE840AE6}" type="presParOf" srcId="{553640CF-0DD7-4A11-B9C8-CEC1AC9DC969}" destId="{D9D260EB-65E4-4D98-A1FF-0DED21F80264}" srcOrd="0" destOrd="0" presId="urn:microsoft.com/office/officeart/2008/layout/VerticalCurvedList"/>
    <dgm:cxn modelId="{662723F5-8881-4D4F-B310-3E0AF71133CF}" type="presParOf" srcId="{D9D260EB-65E4-4D98-A1FF-0DED21F80264}" destId="{D4EBA633-AB73-4EE3-9DFD-9798586EB4E6}" srcOrd="0" destOrd="0" presId="urn:microsoft.com/office/officeart/2008/layout/VerticalCurvedList"/>
    <dgm:cxn modelId="{A3192608-F00F-45D3-8784-F74F98AC31F4}" type="presParOf" srcId="{D9D260EB-65E4-4D98-A1FF-0DED21F80264}" destId="{086937C3-84EA-4D01-815B-C9B4599AF65A}" srcOrd="1" destOrd="0" presId="urn:microsoft.com/office/officeart/2008/layout/VerticalCurvedList"/>
    <dgm:cxn modelId="{C3CA1052-FAAF-4B7B-B6F7-5557DF5499B2}" type="presParOf" srcId="{D9D260EB-65E4-4D98-A1FF-0DED21F80264}" destId="{44538208-D7B4-4B65-A582-02B415A2B701}" srcOrd="2" destOrd="0" presId="urn:microsoft.com/office/officeart/2008/layout/VerticalCurvedList"/>
    <dgm:cxn modelId="{A42EA522-378A-441B-8FFC-3D3CD79E0E85}" type="presParOf" srcId="{D9D260EB-65E4-4D98-A1FF-0DED21F80264}" destId="{21B47D6E-FAC8-490A-968E-B7E83CCEB542}" srcOrd="3" destOrd="0" presId="urn:microsoft.com/office/officeart/2008/layout/VerticalCurvedList"/>
    <dgm:cxn modelId="{347718BD-3812-4A7D-BA2E-08DE33287ABD}" type="presParOf" srcId="{553640CF-0DD7-4A11-B9C8-CEC1AC9DC969}" destId="{6C0CC521-B337-4486-842E-B44CEAD72007}" srcOrd="1" destOrd="0" presId="urn:microsoft.com/office/officeart/2008/layout/VerticalCurvedList"/>
    <dgm:cxn modelId="{512CE304-A337-4ABC-B18A-D01777840911}" type="presParOf" srcId="{553640CF-0DD7-4A11-B9C8-CEC1AC9DC969}" destId="{2302F9F3-1C4D-4054-938C-619391EB46D4}" srcOrd="2" destOrd="0" presId="urn:microsoft.com/office/officeart/2008/layout/VerticalCurvedList"/>
    <dgm:cxn modelId="{0C2544E2-FEB3-4F2C-9B19-41706E988564}" type="presParOf" srcId="{2302F9F3-1C4D-4054-938C-619391EB46D4}" destId="{217F7079-7386-4A28-A6B0-83473D0085E0}" srcOrd="0" destOrd="0" presId="urn:microsoft.com/office/officeart/2008/layout/VerticalCurvedList"/>
    <dgm:cxn modelId="{04DA84A0-D530-44FD-B5E7-D999C34D1EA0}" type="presParOf" srcId="{553640CF-0DD7-4A11-B9C8-CEC1AC9DC969}" destId="{87F59655-F1CB-4060-BF1C-AE0EB72E78CD}" srcOrd="3" destOrd="0" presId="urn:microsoft.com/office/officeart/2008/layout/VerticalCurvedList"/>
    <dgm:cxn modelId="{BA47C17E-DDD4-4F84-8E96-81338DCB3AA0}" type="presParOf" srcId="{553640CF-0DD7-4A11-B9C8-CEC1AC9DC969}" destId="{5B584A0A-04F2-42F4-B13F-BFF689EDCD8D}" srcOrd="4" destOrd="0" presId="urn:microsoft.com/office/officeart/2008/layout/VerticalCurvedList"/>
    <dgm:cxn modelId="{6B916F5E-6EB9-4177-AF30-F23CF3F7B82C}" type="presParOf" srcId="{5B584A0A-04F2-42F4-B13F-BFF689EDCD8D}" destId="{FF5D9E47-29EA-4F5B-B13E-7FC6670697CD}" srcOrd="0" destOrd="0" presId="urn:microsoft.com/office/officeart/2008/layout/VerticalCurvedList"/>
    <dgm:cxn modelId="{79E42689-A21F-40C7-B916-29D1E7DEFECD}" type="presParOf" srcId="{553640CF-0DD7-4A11-B9C8-CEC1AC9DC969}" destId="{320D76A9-81F6-48B8-B7D7-C18EB3CE9B40}" srcOrd="5" destOrd="0" presId="urn:microsoft.com/office/officeart/2008/layout/VerticalCurvedList"/>
    <dgm:cxn modelId="{7F56E139-83DB-480F-A974-EFC5D7FE1F71}" type="presParOf" srcId="{553640CF-0DD7-4A11-B9C8-CEC1AC9DC969}" destId="{EAACF28C-B1B1-474B-A1A9-649EA810A055}" srcOrd="6" destOrd="0" presId="urn:microsoft.com/office/officeart/2008/layout/VerticalCurvedList"/>
    <dgm:cxn modelId="{86E7D46D-6455-4A01-B888-4602B12F713F}" type="presParOf" srcId="{EAACF28C-B1B1-474B-A1A9-649EA810A055}" destId="{4D85C446-53CC-4A08-BF31-43075A800E7C}" srcOrd="0" destOrd="0" presId="urn:microsoft.com/office/officeart/2008/layout/VerticalCurvedList"/>
    <dgm:cxn modelId="{3CD1B814-D975-46C9-BD02-6D26E8ACA37A}" type="presParOf" srcId="{553640CF-0DD7-4A11-B9C8-CEC1AC9DC969}" destId="{8A64C8AA-C7CD-4906-B824-8F2A57550E5F}" srcOrd="7" destOrd="0" presId="urn:microsoft.com/office/officeart/2008/layout/VerticalCurvedList"/>
    <dgm:cxn modelId="{D1A307A4-E202-4536-B3AA-8520D4D6320C}" type="presParOf" srcId="{553640CF-0DD7-4A11-B9C8-CEC1AC9DC969}" destId="{950EA037-F6F9-4816-BAC0-EA0CD96B7838}" srcOrd="8" destOrd="0" presId="urn:microsoft.com/office/officeart/2008/layout/VerticalCurvedList"/>
    <dgm:cxn modelId="{4F6F17B5-1E3D-4DD2-AFF5-C16385902CB6}" type="presParOf" srcId="{950EA037-F6F9-4816-BAC0-EA0CD96B7838}" destId="{AB1795B9-EC74-4F95-84B8-247D948DD177}" srcOrd="0" destOrd="0" presId="urn:microsoft.com/office/officeart/2008/layout/VerticalCurvedList"/>
    <dgm:cxn modelId="{8E86A5FF-35F5-4EC4-971A-0732013504B0}" type="presParOf" srcId="{553640CF-0DD7-4A11-B9C8-CEC1AC9DC969}" destId="{05391EB1-6D6B-4245-A876-0B5DAC501DA0}" srcOrd="9" destOrd="0" presId="urn:microsoft.com/office/officeart/2008/layout/VerticalCurvedList"/>
    <dgm:cxn modelId="{077FA2A4-F9DE-497B-9F70-F52E5A934ED8}" type="presParOf" srcId="{553640CF-0DD7-4A11-B9C8-CEC1AC9DC969}" destId="{229A469A-DD16-4C71-9684-052440405F8C}" srcOrd="10" destOrd="0" presId="urn:microsoft.com/office/officeart/2008/layout/VerticalCurvedList"/>
    <dgm:cxn modelId="{6CD41E43-C0F2-4710-B942-890611E40F9C}" type="presParOf" srcId="{229A469A-DD16-4C71-9684-052440405F8C}" destId="{FBE84F6D-277E-4A6F-92E3-131472CD7F7C}" srcOrd="0" destOrd="0" presId="urn:microsoft.com/office/officeart/2008/layout/VerticalCurvedList"/>
    <dgm:cxn modelId="{03A28B1D-F1F0-4D05-AD2F-3135BE5E5F8B}" type="presParOf" srcId="{553640CF-0DD7-4A11-B9C8-CEC1AC9DC969}" destId="{037BB9FC-1E6D-4932-A1D8-C86975408FF0}" srcOrd="11" destOrd="0" presId="urn:microsoft.com/office/officeart/2008/layout/VerticalCurvedList"/>
    <dgm:cxn modelId="{9A39196F-A5FD-4242-B9DB-B63E495BDB18}" type="presParOf" srcId="{553640CF-0DD7-4A11-B9C8-CEC1AC9DC969}" destId="{F9022FD1-DCB4-4FAF-9AAB-CA8C6FEFC2E2}" srcOrd="12" destOrd="0" presId="urn:microsoft.com/office/officeart/2008/layout/VerticalCurvedList"/>
    <dgm:cxn modelId="{232619F1-B5D7-4D3D-BFB8-CEC59DA2F9EE}" type="presParOf" srcId="{F9022FD1-DCB4-4FAF-9AAB-CA8C6FEFC2E2}" destId="{AD12F6F4-5710-497A-82A5-322D21F71A44}" srcOrd="0" destOrd="0" presId="urn:microsoft.com/office/officeart/2008/layout/VerticalCurvedList"/>
    <dgm:cxn modelId="{082BFB6A-84EA-4C9E-AADC-1215B4686038}" type="presParOf" srcId="{553640CF-0DD7-4A11-B9C8-CEC1AC9DC969}" destId="{61A4F6C9-0F70-4E56-9DF9-62EA6B36ABBE}" srcOrd="13" destOrd="0" presId="urn:microsoft.com/office/officeart/2008/layout/VerticalCurvedList"/>
    <dgm:cxn modelId="{961EBDA0-28F5-462B-8E80-776B87FAF906}" type="presParOf" srcId="{553640CF-0DD7-4A11-B9C8-CEC1AC9DC969}" destId="{AA922CDB-2CAE-4C8D-9E26-0831EC768F09}" srcOrd="14" destOrd="0" presId="urn:microsoft.com/office/officeart/2008/layout/VerticalCurvedList"/>
    <dgm:cxn modelId="{DFAF8D87-DFE5-48C2-892A-9EFC6360682F}" type="presParOf" srcId="{AA922CDB-2CAE-4C8D-9E26-0831EC768F09}" destId="{474FD2FF-F5D4-435F-8A5B-589B13D5A4D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51355A-06CE-4C67-B0DC-42A328431529}">
      <dsp:nvSpPr>
        <dsp:cNvPr id="0" name=""/>
        <dsp:cNvSpPr/>
      </dsp:nvSpPr>
      <dsp:spPr>
        <a:xfrm rot="16200000">
          <a:off x="-2039265" y="3108382"/>
          <a:ext cx="4751794" cy="3897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43741" bIns="0" numCol="1" spcCol="1270" anchor="t" anchorCtr="0">
          <a:noAutofit/>
        </a:bodyPr>
        <a:lstStyle/>
        <a:p>
          <a:pPr marL="0" lvl="0" indent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/>
            <a:t> </a:t>
          </a:r>
        </a:p>
      </dsp:txBody>
      <dsp:txXfrm>
        <a:off x="-2039265" y="3108382"/>
        <a:ext cx="4751794" cy="389753"/>
      </dsp:txXfrm>
    </dsp:sp>
    <dsp:sp modelId="{F73D252C-6763-4D1F-B4D1-BFABA90E94F1}">
      <dsp:nvSpPr>
        <dsp:cNvPr id="0" name=""/>
        <dsp:cNvSpPr/>
      </dsp:nvSpPr>
      <dsp:spPr>
        <a:xfrm>
          <a:off x="341097" y="927361"/>
          <a:ext cx="2322205" cy="475179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3792" tIns="343741" rIns="113792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  <a:t>Global installed capacity in 2020: </a:t>
          </a:r>
          <a:r>
            <a:rPr lang="en-US" sz="1600" b="1" kern="120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34 GW</a:t>
          </a:r>
          <a:br>
            <a:rPr lang="en-US" sz="1600" b="1" kern="120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b="1" kern="1200" dirty="0">
            <a:solidFill>
              <a:srgbClr val="0872A6"/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  <a:t>Growth between 2019 and 2020: </a:t>
          </a:r>
          <a:r>
            <a:rPr lang="en-US" sz="1600" b="1" kern="120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18%</a:t>
          </a:r>
          <a:br>
            <a:rPr lang="en-US" sz="1600" b="1" kern="120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b="1" kern="1200" dirty="0">
            <a:solidFill>
              <a:srgbClr val="0872A6"/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  <a:t>Leading region: Europe </a:t>
          </a:r>
          <a:r>
            <a:rPr lang="en-US" sz="1600" b="1" kern="120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90%</a:t>
          </a:r>
          <a: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  <a:t> of global capacity</a:t>
          </a:r>
          <a:b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  <a:t>New markets: China half of new additions in 2020 </a:t>
          </a:r>
          <a:r>
            <a:rPr lang="en-US" sz="1600" b="1" kern="120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(3 GW China)</a:t>
          </a:r>
          <a:br>
            <a:rPr lang="en-US" sz="1600" b="1" kern="120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b="1" kern="1200" dirty="0">
            <a:solidFill>
              <a:srgbClr val="0872A6"/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Global floating wind capacity: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30 MW</a:t>
          </a:r>
          <a:b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b="1" kern="1200" dirty="0">
            <a:solidFill>
              <a:srgbClr val="0872A6"/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Capacity factor: </a:t>
          </a:r>
          <a:r>
            <a:rPr lang="en-US" sz="1600" kern="1200" dirty="0" err="1">
              <a:latin typeface="Calibri" panose="020F0502020204030204" pitchFamily="34" charset="0"/>
              <a:cs typeface="Calibri" panose="020F0502020204030204" pitchFamily="34" charset="0"/>
            </a:rPr>
            <a:t>Hywind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&gt; 50%</a:t>
          </a:r>
        </a:p>
      </dsp:txBody>
      <dsp:txXfrm>
        <a:off x="341097" y="927361"/>
        <a:ext cx="2322205" cy="4751794"/>
      </dsp:txXfrm>
    </dsp:sp>
    <dsp:sp modelId="{45333189-541A-4F30-AF92-30523A9ECFC3}">
      <dsp:nvSpPr>
        <dsp:cNvPr id="0" name=""/>
        <dsp:cNvSpPr/>
      </dsp:nvSpPr>
      <dsp:spPr>
        <a:xfrm>
          <a:off x="141755" y="412887"/>
          <a:ext cx="779506" cy="779506"/>
        </a:xfrm>
        <a:prstGeom prst="rect">
          <a:avLst/>
        </a:prstGeom>
        <a:blipFill>
          <a:blip xmlns:r="http://schemas.openxmlformats.org/officeDocument/2006/relationships" r:embed="rId1"/>
          <a:srcRect/>
          <a:stretch>
            <a:fillRect/>
          </a:stretch>
        </a:blipFill>
        <a:ln w="381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C02DB932-18F6-4FDC-BAD0-CD022BCC635F}">
      <dsp:nvSpPr>
        <dsp:cNvPr id="0" name=""/>
        <dsp:cNvSpPr/>
      </dsp:nvSpPr>
      <dsp:spPr>
        <a:xfrm rot="16200000">
          <a:off x="988017" y="3108382"/>
          <a:ext cx="4751794" cy="3897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43741" bIns="0" numCol="1" spcCol="1270" anchor="t" anchorCtr="0">
          <a:noAutofit/>
        </a:bodyPr>
        <a:lstStyle/>
        <a:p>
          <a:pPr marL="0" lvl="0" indent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b="1" kern="1200" dirty="0"/>
        </a:p>
      </dsp:txBody>
      <dsp:txXfrm>
        <a:off x="988017" y="3108382"/>
        <a:ext cx="4751794" cy="389753"/>
      </dsp:txXfrm>
    </dsp:sp>
    <dsp:sp modelId="{77143358-F92B-45A6-98DD-A63805EFDC17}">
      <dsp:nvSpPr>
        <dsp:cNvPr id="0" name=""/>
        <dsp:cNvSpPr/>
      </dsp:nvSpPr>
      <dsp:spPr>
        <a:xfrm>
          <a:off x="3368379" y="927361"/>
          <a:ext cx="2322205" cy="475179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3792" tIns="343741" rIns="113792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  <a:t>Global capacity: </a:t>
          </a:r>
          <a:r>
            <a:rPr lang="en-US" sz="1600" b="1" kern="120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380 GW</a:t>
          </a:r>
          <a: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  <a:t> in 2030 and </a:t>
          </a:r>
          <a:r>
            <a:rPr lang="en-US" sz="1600" b="1" kern="120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2,000 GW</a:t>
          </a:r>
          <a:r>
            <a:rPr lang="en-US" sz="1600" kern="120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  <a:t>in 2050</a:t>
          </a:r>
          <a:b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  <a:t>Floating </a:t>
          </a:r>
          <a:r>
            <a:rPr lang="en-US" sz="1600" b="1" kern="120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~ 30 GW </a:t>
          </a:r>
          <a: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  <a:t>in 2030 and </a:t>
          </a:r>
          <a:r>
            <a:rPr lang="en-US" sz="1600" b="1" kern="120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~ 300 GW </a:t>
          </a:r>
          <a: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  <a:t>2050</a:t>
          </a:r>
          <a:b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  <a:t>Needed annual installations: </a:t>
          </a:r>
          <a:r>
            <a:rPr lang="en-US" sz="1600" b="1" kern="120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~ 70 GW </a:t>
          </a:r>
          <a: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  <a:t>per year </a:t>
          </a:r>
          <a:b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  <a:t>Needed annual investments: </a:t>
          </a:r>
          <a:r>
            <a:rPr lang="en-US" sz="1600" b="1" kern="120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~ 150 </a:t>
          </a:r>
          <a: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  <a:t>to </a:t>
          </a:r>
          <a:r>
            <a:rPr lang="en-US" sz="1600" b="1" kern="120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200 USD billions </a:t>
          </a:r>
          <a: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  <a:t>per year</a:t>
          </a:r>
          <a:endParaRPr lang="en-US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3368379" y="927361"/>
        <a:ext cx="2322205" cy="4751794"/>
      </dsp:txXfrm>
    </dsp:sp>
    <dsp:sp modelId="{B80678F1-1DC4-4E9F-A5C4-C726A9FACAA7}">
      <dsp:nvSpPr>
        <dsp:cNvPr id="0" name=""/>
        <dsp:cNvSpPr/>
      </dsp:nvSpPr>
      <dsp:spPr>
        <a:xfrm>
          <a:off x="3169037" y="412887"/>
          <a:ext cx="779506" cy="779506"/>
        </a:xfrm>
        <a:prstGeom prst="rect">
          <a:avLst/>
        </a:prstGeom>
        <a:blipFill>
          <a:blip xmlns:r="http://schemas.openxmlformats.org/officeDocument/2006/relationships" r:embed="rId2"/>
          <a:srcRect/>
          <a:stretch>
            <a:fillRect/>
          </a:stretch>
        </a:blipFill>
        <a:ln w="381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D7B49462-AAFF-460E-B7A4-9EA0EC12A709}">
      <dsp:nvSpPr>
        <dsp:cNvPr id="0" name=""/>
        <dsp:cNvSpPr/>
      </dsp:nvSpPr>
      <dsp:spPr>
        <a:xfrm rot="16200000">
          <a:off x="4015299" y="3108382"/>
          <a:ext cx="4751794" cy="3897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43741" bIns="0" numCol="1" spcCol="1270" anchor="t" anchorCtr="0">
          <a:noAutofit/>
        </a:bodyPr>
        <a:lstStyle/>
        <a:p>
          <a:pPr marL="0" lvl="0" indent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 dirty="0"/>
        </a:p>
      </dsp:txBody>
      <dsp:txXfrm>
        <a:off x="4015299" y="3108382"/>
        <a:ext cx="4751794" cy="389753"/>
      </dsp:txXfrm>
    </dsp:sp>
    <dsp:sp modelId="{705B2960-5DBA-4490-B31E-33C44441E2C8}">
      <dsp:nvSpPr>
        <dsp:cNvPr id="0" name=""/>
        <dsp:cNvSpPr/>
      </dsp:nvSpPr>
      <dsp:spPr>
        <a:xfrm>
          <a:off x="6336265" y="927361"/>
          <a:ext cx="2440998" cy="475179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9352" tIns="343741" rIns="149352" bIns="14935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kern="1200" dirty="0">
              <a:latin typeface="Calibri" panose="020F0502020204030204" pitchFamily="34" charset="0"/>
              <a:cs typeface="Calibri" panose="020F0502020204030204" pitchFamily="34" charset="0"/>
            </a:rPr>
            <a:t>Fixed foundations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: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ymbol" panose="05050102010706020507" pitchFamily="18" charset="2"/>
            <a:buChar char=""/>
          </a:pPr>
          <a: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  <a:t>2019 Global average: </a:t>
          </a:r>
          <a:r>
            <a:rPr lang="en-US" sz="1600" b="1" kern="120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USD 0.115/kWh </a:t>
          </a:r>
          <a:endParaRPr lang="en-US" sz="1600" b="1" kern="1200" dirty="0">
            <a:solidFill>
              <a:srgbClr val="0872A6"/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  <a:t>2023 outlook based on auction data: </a:t>
          </a:r>
          <a:r>
            <a:rPr lang="en-US" sz="1600" b="1" kern="120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USD 0.05 – 0.10/kWh</a:t>
          </a:r>
          <a:br>
            <a:rPr lang="en-US" sz="1600" b="1" kern="120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b="1" kern="1200" dirty="0">
            <a:solidFill>
              <a:srgbClr val="0872A6"/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kern="1200" dirty="0">
              <a:latin typeface="Calibri" panose="020F0502020204030204" pitchFamily="34" charset="0"/>
              <a:cs typeface="Calibri" panose="020F0502020204030204" pitchFamily="34" charset="0"/>
            </a:rPr>
            <a:t>Floating foundations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: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Symbol" panose="05050102010706020507" pitchFamily="18" charset="2"/>
            <a:buChar char=""/>
          </a:pPr>
          <a: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  <a:t>2019 Global average: </a:t>
          </a:r>
          <a:r>
            <a:rPr lang="en-US" sz="1600" b="1" kern="120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USD 0.160/kWh</a:t>
          </a:r>
          <a: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endParaRPr lang="en-US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  <a:t>2024 outlook based on auction data: average </a:t>
          </a:r>
          <a:r>
            <a:rPr lang="en-US" sz="1600" b="1" kern="120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USD 0.13/kWh</a:t>
          </a:r>
          <a:endParaRPr lang="en-US" sz="1600" b="1" kern="1200" dirty="0">
            <a:solidFill>
              <a:srgbClr val="0872A6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6336265" y="927361"/>
        <a:ext cx="2440998" cy="4751794"/>
      </dsp:txXfrm>
    </dsp:sp>
    <dsp:sp modelId="{67B5ECA2-6AAF-4604-8D3A-07E06B9CDA56}">
      <dsp:nvSpPr>
        <dsp:cNvPr id="0" name=""/>
        <dsp:cNvSpPr/>
      </dsp:nvSpPr>
      <dsp:spPr>
        <a:xfrm>
          <a:off x="6196319" y="412887"/>
          <a:ext cx="779506" cy="779506"/>
        </a:xfrm>
        <a:prstGeom prst="rect">
          <a:avLst/>
        </a:prstGeom>
        <a:blipFill>
          <a:blip xmlns:r="http://schemas.openxmlformats.org/officeDocument/2006/relationships" r:embed="rId3"/>
          <a:srcRect/>
          <a:stretch>
            <a:fillRect/>
          </a:stretch>
        </a:blipFill>
        <a:ln w="381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CC76BC62-32E0-4022-9E1C-0A2630E826A7}">
      <dsp:nvSpPr>
        <dsp:cNvPr id="0" name=""/>
        <dsp:cNvSpPr/>
      </dsp:nvSpPr>
      <dsp:spPr>
        <a:xfrm rot="16200000">
          <a:off x="7101978" y="3108382"/>
          <a:ext cx="4751794" cy="3897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43741" bIns="0" numCol="1" spcCol="1270" anchor="t" anchorCtr="0">
          <a:noAutofit/>
        </a:bodyPr>
        <a:lstStyle/>
        <a:p>
          <a:pPr marL="0" lvl="0" indent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 dirty="0"/>
        </a:p>
      </dsp:txBody>
      <dsp:txXfrm>
        <a:off x="7101978" y="3108382"/>
        <a:ext cx="4751794" cy="389753"/>
      </dsp:txXfrm>
    </dsp:sp>
    <dsp:sp modelId="{D0AFD08C-C28D-4B6E-BC73-D6D841C99D29}">
      <dsp:nvSpPr>
        <dsp:cNvPr id="0" name=""/>
        <dsp:cNvSpPr/>
      </dsp:nvSpPr>
      <dsp:spPr>
        <a:xfrm>
          <a:off x="9482340" y="927361"/>
          <a:ext cx="2322205" cy="475179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2240" tIns="343741" rIns="142240" bIns="14224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EU Offshore strategy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~ 300 GW 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in 2050</a:t>
          </a:r>
          <a:b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Japan: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45 GW 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by 2040</a:t>
          </a:r>
          <a:b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India: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30 GW 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in 2030</a:t>
          </a:r>
          <a:b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China plan for a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50 GW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 wind farm by 2030 in Fujian province</a:t>
          </a:r>
          <a:b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Korea plan for a </a:t>
          </a:r>
          <a:r>
            <a:rPr lang="en-GB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6 GW </a:t>
          </a:r>
          <a:r>
            <a:rPr lang="en-GB" sz="1600" kern="1200" dirty="0">
              <a:latin typeface="Calibri" panose="020F0502020204030204" pitchFamily="34" charset="0"/>
              <a:cs typeface="Calibri" panose="020F0502020204030204" pitchFamily="34" charset="0"/>
            </a:rPr>
            <a:t>floating wind farm by 2030</a:t>
          </a:r>
          <a:br>
            <a:rPr lang="en-GB" sz="160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>
              <a:latin typeface="Calibri" panose="020F0502020204030204" pitchFamily="34" charset="0"/>
              <a:cs typeface="Calibri" panose="020F0502020204030204" pitchFamily="34" charset="0"/>
            </a:rPr>
            <a:t>USA: </a:t>
          </a:r>
          <a:r>
            <a:rPr lang="en-US" sz="1600" b="0" i="0" kern="1200">
              <a:latin typeface="Calibri" panose="020F0502020204030204" pitchFamily="34" charset="0"/>
              <a:cs typeface="Calibri" panose="020F0502020204030204" pitchFamily="34" charset="0"/>
            </a:rPr>
            <a:t>Vineyard Wind </a:t>
          </a:r>
          <a:r>
            <a:rPr lang="en-US" sz="1600" b="1" i="0" kern="120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800 MW </a:t>
          </a:r>
          <a:r>
            <a:rPr lang="en-US" sz="1600" b="0" i="0" kern="1200">
              <a:latin typeface="Calibri" panose="020F0502020204030204" pitchFamily="34" charset="0"/>
              <a:cs typeface="Calibri" panose="020F0502020204030204" pitchFamily="34" charset="0"/>
            </a:rPr>
            <a:t>project</a:t>
          </a:r>
          <a:endParaRPr lang="en-US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9482340" y="927361"/>
        <a:ext cx="2322205" cy="4751794"/>
      </dsp:txXfrm>
    </dsp:sp>
    <dsp:sp modelId="{873CC04C-48B2-4B85-8EC9-40612DE49D45}">
      <dsp:nvSpPr>
        <dsp:cNvPr id="0" name=""/>
        <dsp:cNvSpPr/>
      </dsp:nvSpPr>
      <dsp:spPr>
        <a:xfrm>
          <a:off x="9282998" y="412887"/>
          <a:ext cx="779506" cy="779506"/>
        </a:xfrm>
        <a:prstGeom prst="rect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381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51355A-06CE-4C67-B0DC-42A328431529}">
      <dsp:nvSpPr>
        <dsp:cNvPr id="0" name=""/>
        <dsp:cNvSpPr/>
      </dsp:nvSpPr>
      <dsp:spPr>
        <a:xfrm rot="16200000">
          <a:off x="-2039265" y="3108382"/>
          <a:ext cx="4751794" cy="3897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43741" bIns="0" numCol="1" spcCol="1270" anchor="t" anchorCtr="0">
          <a:noAutofit/>
        </a:bodyPr>
        <a:lstStyle/>
        <a:p>
          <a:pPr marL="0" lvl="0" indent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/>
            <a:t> </a:t>
          </a:r>
        </a:p>
      </dsp:txBody>
      <dsp:txXfrm>
        <a:off x="-2039265" y="3108382"/>
        <a:ext cx="4751794" cy="389753"/>
      </dsp:txXfrm>
    </dsp:sp>
    <dsp:sp modelId="{F73D252C-6763-4D1F-B4D1-BFABA90E94F1}">
      <dsp:nvSpPr>
        <dsp:cNvPr id="0" name=""/>
        <dsp:cNvSpPr/>
      </dsp:nvSpPr>
      <dsp:spPr>
        <a:xfrm>
          <a:off x="341097" y="927361"/>
          <a:ext cx="2322205" cy="475179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0872A6"/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3792" tIns="343741" rIns="113792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Global installed capacity 2020: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535 MW</a:t>
          </a:r>
          <a:b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b="1" kern="1200" dirty="0">
            <a:solidFill>
              <a:srgbClr val="0872A6"/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Tidal range dominates capacity but technology trend shifts towards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tidal stream 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and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wave energy</a:t>
          </a:r>
          <a:b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Leading region: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31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 countries with projects in pipeline, mostly in EU</a:t>
          </a:r>
        </a:p>
      </dsp:txBody>
      <dsp:txXfrm>
        <a:off x="341097" y="927361"/>
        <a:ext cx="2322205" cy="4751794"/>
      </dsp:txXfrm>
    </dsp:sp>
    <dsp:sp modelId="{45333189-541A-4F30-AF92-30523A9ECFC3}">
      <dsp:nvSpPr>
        <dsp:cNvPr id="0" name=""/>
        <dsp:cNvSpPr/>
      </dsp:nvSpPr>
      <dsp:spPr>
        <a:xfrm>
          <a:off x="141755" y="412887"/>
          <a:ext cx="779506" cy="779506"/>
        </a:xfrm>
        <a:prstGeom prst="rect">
          <a:avLst/>
        </a:prstGeom>
        <a:blipFill>
          <a:blip xmlns:r="http://schemas.openxmlformats.org/officeDocument/2006/relationships" r:embed="rId1"/>
          <a:srcRect/>
          <a:stretch>
            <a:fillRect/>
          </a:stretch>
        </a:blipFill>
        <a:ln w="38100" cap="flat" cmpd="sng" algn="ctr">
          <a:solidFill>
            <a:srgbClr val="0872A6"/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C02DB932-18F6-4FDC-BAD0-CD022BCC635F}">
      <dsp:nvSpPr>
        <dsp:cNvPr id="0" name=""/>
        <dsp:cNvSpPr/>
      </dsp:nvSpPr>
      <dsp:spPr>
        <a:xfrm rot="16200000">
          <a:off x="988017" y="3108382"/>
          <a:ext cx="4751794" cy="3897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43741" bIns="0" numCol="1" spcCol="1270" anchor="t" anchorCtr="0">
          <a:noAutofit/>
        </a:bodyPr>
        <a:lstStyle/>
        <a:p>
          <a:pPr marL="0" lvl="0" indent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b="1" kern="1200" dirty="0"/>
        </a:p>
      </dsp:txBody>
      <dsp:txXfrm>
        <a:off x="988017" y="3108382"/>
        <a:ext cx="4751794" cy="389753"/>
      </dsp:txXfrm>
    </dsp:sp>
    <dsp:sp modelId="{77143358-F92B-45A6-98DD-A63805EFDC17}">
      <dsp:nvSpPr>
        <dsp:cNvPr id="0" name=""/>
        <dsp:cNvSpPr/>
      </dsp:nvSpPr>
      <dsp:spPr>
        <a:xfrm>
          <a:off x="3368379" y="927361"/>
          <a:ext cx="2322205" cy="475179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0872A6"/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3792" tIns="343741" rIns="113792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Global capacity: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70 GW 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by 2030 and more than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350 GW 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by 2050</a:t>
          </a:r>
          <a:b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Needed annual installations: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~ 12 GW 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per year </a:t>
          </a:r>
          <a:b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Needed annual investments: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~ 35 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to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45 USD billions 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per year</a:t>
          </a:r>
        </a:p>
      </dsp:txBody>
      <dsp:txXfrm>
        <a:off x="3368379" y="927361"/>
        <a:ext cx="2322205" cy="4751794"/>
      </dsp:txXfrm>
    </dsp:sp>
    <dsp:sp modelId="{B80678F1-1DC4-4E9F-A5C4-C726A9FACAA7}">
      <dsp:nvSpPr>
        <dsp:cNvPr id="0" name=""/>
        <dsp:cNvSpPr/>
      </dsp:nvSpPr>
      <dsp:spPr>
        <a:xfrm>
          <a:off x="3169037" y="412887"/>
          <a:ext cx="779506" cy="779506"/>
        </a:xfrm>
        <a:prstGeom prst="rect">
          <a:avLst/>
        </a:prstGeom>
        <a:blipFill>
          <a:blip xmlns:r="http://schemas.openxmlformats.org/officeDocument/2006/relationships" r:embed="rId2"/>
          <a:srcRect/>
          <a:stretch>
            <a:fillRect/>
          </a:stretch>
        </a:blipFill>
        <a:ln w="38100" cap="flat" cmpd="sng" algn="ctr">
          <a:solidFill>
            <a:srgbClr val="0872A6"/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D7B49462-AAFF-460E-B7A4-9EA0EC12A709}">
      <dsp:nvSpPr>
        <dsp:cNvPr id="0" name=""/>
        <dsp:cNvSpPr/>
      </dsp:nvSpPr>
      <dsp:spPr>
        <a:xfrm rot="16200000">
          <a:off x="4015299" y="3108382"/>
          <a:ext cx="4751794" cy="3897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43741" bIns="0" numCol="1" spcCol="1270" anchor="t" anchorCtr="0">
          <a:noAutofit/>
        </a:bodyPr>
        <a:lstStyle/>
        <a:p>
          <a:pPr marL="0" lvl="0" indent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 dirty="0"/>
        </a:p>
      </dsp:txBody>
      <dsp:txXfrm>
        <a:off x="4015299" y="3108382"/>
        <a:ext cx="4751794" cy="389753"/>
      </dsp:txXfrm>
    </dsp:sp>
    <dsp:sp modelId="{705B2960-5DBA-4490-B31E-33C44441E2C8}">
      <dsp:nvSpPr>
        <dsp:cNvPr id="0" name=""/>
        <dsp:cNvSpPr/>
      </dsp:nvSpPr>
      <dsp:spPr>
        <a:xfrm>
          <a:off x="6336265" y="927361"/>
          <a:ext cx="2440998" cy="475179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0872A6"/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3792" tIns="343741" rIns="113792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0" kern="1200" dirty="0">
              <a:latin typeface="Calibri" panose="020F0502020204030204" pitchFamily="34" charset="0"/>
              <a:cs typeface="Calibri" panose="020F0502020204030204" pitchFamily="34" charset="0"/>
            </a:rPr>
            <a:t>Tidal: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USD 0.20-0.45/kWh</a:t>
          </a:r>
          <a:b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b="1" kern="1200" dirty="0">
            <a:solidFill>
              <a:srgbClr val="0872A6"/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0" kern="1200" dirty="0">
              <a:latin typeface="Calibri" panose="020F0502020204030204" pitchFamily="34" charset="0"/>
              <a:cs typeface="Calibri" panose="020F0502020204030204" pitchFamily="34" charset="0"/>
            </a:rPr>
            <a:t>Wave: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USD 0.30-0.55/kWh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0" kern="1200" dirty="0">
              <a:latin typeface="Calibri" panose="020F0502020204030204" pitchFamily="34" charset="0"/>
              <a:cs typeface="Calibri" panose="020F0502020204030204" pitchFamily="34" charset="0"/>
            </a:rPr>
            <a:t>2030: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USD 0.11/kWh</a:t>
          </a:r>
        </a:p>
      </dsp:txBody>
      <dsp:txXfrm>
        <a:off x="6336265" y="927361"/>
        <a:ext cx="2440998" cy="4751794"/>
      </dsp:txXfrm>
    </dsp:sp>
    <dsp:sp modelId="{67B5ECA2-6AAF-4604-8D3A-07E06B9CDA56}">
      <dsp:nvSpPr>
        <dsp:cNvPr id="0" name=""/>
        <dsp:cNvSpPr/>
      </dsp:nvSpPr>
      <dsp:spPr>
        <a:xfrm>
          <a:off x="6196319" y="412887"/>
          <a:ext cx="779506" cy="779506"/>
        </a:xfrm>
        <a:prstGeom prst="rect">
          <a:avLst/>
        </a:prstGeom>
        <a:blipFill>
          <a:blip xmlns:r="http://schemas.openxmlformats.org/officeDocument/2006/relationships" r:embed="rId3"/>
          <a:srcRect/>
          <a:stretch>
            <a:fillRect/>
          </a:stretch>
        </a:blipFill>
        <a:ln w="38100" cap="flat" cmpd="sng" algn="ctr">
          <a:solidFill>
            <a:srgbClr val="0872A6"/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CC76BC62-32E0-4022-9E1C-0A2630E826A7}">
      <dsp:nvSpPr>
        <dsp:cNvPr id="0" name=""/>
        <dsp:cNvSpPr/>
      </dsp:nvSpPr>
      <dsp:spPr>
        <a:xfrm rot="16200000">
          <a:off x="7101978" y="3108382"/>
          <a:ext cx="4751794" cy="3897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43741" bIns="0" numCol="1" spcCol="1270" anchor="t" anchorCtr="0">
          <a:noAutofit/>
        </a:bodyPr>
        <a:lstStyle/>
        <a:p>
          <a:pPr marL="0" lvl="0" indent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 dirty="0"/>
        </a:p>
      </dsp:txBody>
      <dsp:txXfrm>
        <a:off x="7101978" y="3108382"/>
        <a:ext cx="4751794" cy="389753"/>
      </dsp:txXfrm>
    </dsp:sp>
    <dsp:sp modelId="{D0AFD08C-C28D-4B6E-BC73-D6D841C99D29}">
      <dsp:nvSpPr>
        <dsp:cNvPr id="0" name=""/>
        <dsp:cNvSpPr/>
      </dsp:nvSpPr>
      <dsp:spPr>
        <a:xfrm>
          <a:off x="9482340" y="927361"/>
          <a:ext cx="2322205" cy="475179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0872A6"/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9352" tIns="343741" rIns="149352" bIns="14935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12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 countries pursuing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tidal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 and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wave energy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Canada grid-connected tidal stream project of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9 MW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The European Commission targets at least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40 GW 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by 2050.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Emerging markets include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China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,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Japan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 and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Republic of Korea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.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The world’s largest tidal stream turbine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2 MW 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operational in Scotland</a:t>
          </a:r>
          <a:r>
            <a:rPr lang="en-US" sz="1600" kern="1200" dirty="0"/>
            <a:t>.</a:t>
          </a:r>
        </a:p>
      </dsp:txBody>
      <dsp:txXfrm>
        <a:off x="9482340" y="927361"/>
        <a:ext cx="2322205" cy="4751794"/>
      </dsp:txXfrm>
    </dsp:sp>
    <dsp:sp modelId="{873CC04C-48B2-4B85-8EC9-40612DE49D45}">
      <dsp:nvSpPr>
        <dsp:cNvPr id="0" name=""/>
        <dsp:cNvSpPr/>
      </dsp:nvSpPr>
      <dsp:spPr>
        <a:xfrm>
          <a:off x="9282998" y="412887"/>
          <a:ext cx="779506" cy="779506"/>
        </a:xfrm>
        <a:prstGeom prst="rect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38100" cap="flat" cmpd="sng" algn="ctr">
          <a:solidFill>
            <a:srgbClr val="0872A6"/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51355A-06CE-4C67-B0DC-42A328431529}">
      <dsp:nvSpPr>
        <dsp:cNvPr id="0" name=""/>
        <dsp:cNvSpPr/>
      </dsp:nvSpPr>
      <dsp:spPr>
        <a:xfrm rot="16200000">
          <a:off x="-2039265" y="3108382"/>
          <a:ext cx="4751794" cy="3897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43741" bIns="0" numCol="1" spcCol="1270" anchor="t" anchorCtr="0">
          <a:noAutofit/>
        </a:bodyPr>
        <a:lstStyle/>
        <a:p>
          <a:pPr marL="0" lvl="0" indent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/>
            <a:t> </a:t>
          </a:r>
        </a:p>
      </dsp:txBody>
      <dsp:txXfrm>
        <a:off x="-2039265" y="3108382"/>
        <a:ext cx="4751794" cy="389753"/>
      </dsp:txXfrm>
    </dsp:sp>
    <dsp:sp modelId="{F73D252C-6763-4D1F-B4D1-BFABA90E94F1}">
      <dsp:nvSpPr>
        <dsp:cNvPr id="0" name=""/>
        <dsp:cNvSpPr/>
      </dsp:nvSpPr>
      <dsp:spPr>
        <a:xfrm>
          <a:off x="341097" y="927361"/>
          <a:ext cx="2322205" cy="475179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FFC000"/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3792" tIns="343741" rIns="113792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Global installed capacity 2020: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2.6 GW</a:t>
          </a:r>
          <a:b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b="1" kern="1200" dirty="0">
            <a:solidFill>
              <a:srgbClr val="0872A6"/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339 projects in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35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 countries</a:t>
          </a:r>
          <a:b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Accelerated growth in last 3 years –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1.5 GW 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additional capacity</a:t>
          </a:r>
        </a:p>
      </dsp:txBody>
      <dsp:txXfrm>
        <a:off x="341097" y="927361"/>
        <a:ext cx="2322205" cy="4751794"/>
      </dsp:txXfrm>
    </dsp:sp>
    <dsp:sp modelId="{45333189-541A-4F30-AF92-30523A9ECFC3}">
      <dsp:nvSpPr>
        <dsp:cNvPr id="0" name=""/>
        <dsp:cNvSpPr/>
      </dsp:nvSpPr>
      <dsp:spPr>
        <a:xfrm>
          <a:off x="141755" y="412887"/>
          <a:ext cx="779506" cy="779506"/>
        </a:xfrm>
        <a:prstGeom prst="rect">
          <a:avLst/>
        </a:prstGeom>
        <a:blipFill>
          <a:blip xmlns:r="http://schemas.openxmlformats.org/officeDocument/2006/relationships" r:embed="rId1"/>
          <a:srcRect/>
          <a:stretch>
            <a:fillRect/>
          </a:stretch>
        </a:blipFill>
        <a:ln w="38100" cap="flat" cmpd="sng" algn="ctr">
          <a:solidFill>
            <a:srgbClr val="FFC000"/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C02DB932-18F6-4FDC-BAD0-CD022BCC635F}">
      <dsp:nvSpPr>
        <dsp:cNvPr id="0" name=""/>
        <dsp:cNvSpPr/>
      </dsp:nvSpPr>
      <dsp:spPr>
        <a:xfrm rot="16200000">
          <a:off x="988017" y="3108382"/>
          <a:ext cx="4751794" cy="3897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43741" bIns="0" numCol="1" spcCol="1270" anchor="t" anchorCtr="0">
          <a:noAutofit/>
        </a:bodyPr>
        <a:lstStyle/>
        <a:p>
          <a:pPr marL="0" lvl="0" indent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b="1" kern="1200" dirty="0"/>
        </a:p>
      </dsp:txBody>
      <dsp:txXfrm>
        <a:off x="988017" y="3108382"/>
        <a:ext cx="4751794" cy="389753"/>
      </dsp:txXfrm>
    </dsp:sp>
    <dsp:sp modelId="{77143358-F92B-45A6-98DD-A63805EFDC17}">
      <dsp:nvSpPr>
        <dsp:cNvPr id="0" name=""/>
        <dsp:cNvSpPr/>
      </dsp:nvSpPr>
      <dsp:spPr>
        <a:xfrm>
          <a:off x="3368379" y="927361"/>
          <a:ext cx="2322205" cy="475179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FFC000"/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3792" tIns="343741" rIns="113792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future demand driven by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Asian countries</a:t>
          </a:r>
          <a:b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b="1" kern="1200" dirty="0">
            <a:solidFill>
              <a:srgbClr val="0872A6"/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India plans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1 GW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Korea plans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2.7 GW 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in the Yellow Sea</a:t>
          </a:r>
        </a:p>
      </dsp:txBody>
      <dsp:txXfrm>
        <a:off x="3368379" y="927361"/>
        <a:ext cx="2322205" cy="4751794"/>
      </dsp:txXfrm>
    </dsp:sp>
    <dsp:sp modelId="{B80678F1-1DC4-4E9F-A5C4-C726A9FACAA7}">
      <dsp:nvSpPr>
        <dsp:cNvPr id="0" name=""/>
        <dsp:cNvSpPr/>
      </dsp:nvSpPr>
      <dsp:spPr>
        <a:xfrm>
          <a:off x="3169037" y="412887"/>
          <a:ext cx="779506" cy="779506"/>
        </a:xfrm>
        <a:prstGeom prst="rect">
          <a:avLst/>
        </a:prstGeom>
        <a:blipFill>
          <a:blip xmlns:r="http://schemas.openxmlformats.org/officeDocument/2006/relationships" r:embed="rId2"/>
          <a:srcRect/>
          <a:stretch>
            <a:fillRect/>
          </a:stretch>
        </a:blipFill>
        <a:ln w="38100" cap="flat" cmpd="sng" algn="ctr">
          <a:solidFill>
            <a:srgbClr val="FFC000"/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D7B49462-AAFF-460E-B7A4-9EA0EC12A709}">
      <dsp:nvSpPr>
        <dsp:cNvPr id="0" name=""/>
        <dsp:cNvSpPr/>
      </dsp:nvSpPr>
      <dsp:spPr>
        <a:xfrm rot="16200000">
          <a:off x="4015299" y="3108382"/>
          <a:ext cx="4751794" cy="3897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43741" bIns="0" numCol="1" spcCol="1270" anchor="t" anchorCtr="0">
          <a:noAutofit/>
        </a:bodyPr>
        <a:lstStyle/>
        <a:p>
          <a:pPr marL="0" lvl="0" indent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 dirty="0"/>
        </a:p>
      </dsp:txBody>
      <dsp:txXfrm>
        <a:off x="4015299" y="3108382"/>
        <a:ext cx="4751794" cy="389753"/>
      </dsp:txXfrm>
    </dsp:sp>
    <dsp:sp modelId="{705B2960-5DBA-4490-B31E-33C44441E2C8}">
      <dsp:nvSpPr>
        <dsp:cNvPr id="0" name=""/>
        <dsp:cNvSpPr/>
      </dsp:nvSpPr>
      <dsp:spPr>
        <a:xfrm>
          <a:off x="6336265" y="927361"/>
          <a:ext cx="2440998" cy="475179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FFC000"/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3792" tIns="343741" rIns="113792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0" kern="1200" dirty="0">
              <a:latin typeface="Calibri" panose="020F0502020204030204" pitchFamily="34" charset="0"/>
              <a:cs typeface="Calibri" panose="020F0502020204030204" pitchFamily="34" charset="0"/>
            </a:rPr>
            <a:t>2020 estimated: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USD 0.354/kWh</a:t>
          </a:r>
        </a:p>
      </dsp:txBody>
      <dsp:txXfrm>
        <a:off x="6336265" y="927361"/>
        <a:ext cx="2440998" cy="4751794"/>
      </dsp:txXfrm>
    </dsp:sp>
    <dsp:sp modelId="{67B5ECA2-6AAF-4604-8D3A-07E06B9CDA56}">
      <dsp:nvSpPr>
        <dsp:cNvPr id="0" name=""/>
        <dsp:cNvSpPr/>
      </dsp:nvSpPr>
      <dsp:spPr>
        <a:xfrm>
          <a:off x="6196319" y="412887"/>
          <a:ext cx="779506" cy="779506"/>
        </a:xfrm>
        <a:prstGeom prst="rect">
          <a:avLst/>
        </a:prstGeom>
        <a:blipFill>
          <a:blip xmlns:r="http://schemas.openxmlformats.org/officeDocument/2006/relationships" r:embed="rId3"/>
          <a:srcRect/>
          <a:stretch>
            <a:fillRect/>
          </a:stretch>
        </a:blipFill>
        <a:ln w="38100" cap="flat" cmpd="sng" algn="ctr">
          <a:solidFill>
            <a:srgbClr val="FFC000"/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CC76BC62-32E0-4022-9E1C-0A2630E826A7}">
      <dsp:nvSpPr>
        <dsp:cNvPr id="0" name=""/>
        <dsp:cNvSpPr/>
      </dsp:nvSpPr>
      <dsp:spPr>
        <a:xfrm rot="16200000">
          <a:off x="7101978" y="3108382"/>
          <a:ext cx="4751794" cy="3897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43741" bIns="0" numCol="1" spcCol="1270" anchor="t" anchorCtr="0">
          <a:noAutofit/>
        </a:bodyPr>
        <a:lstStyle/>
        <a:p>
          <a:pPr marL="0" lvl="0" indent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800" kern="1200" dirty="0"/>
        </a:p>
      </dsp:txBody>
      <dsp:txXfrm>
        <a:off x="7101978" y="3108382"/>
        <a:ext cx="4751794" cy="389753"/>
      </dsp:txXfrm>
    </dsp:sp>
    <dsp:sp modelId="{D0AFD08C-C28D-4B6E-BC73-D6D841C99D29}">
      <dsp:nvSpPr>
        <dsp:cNvPr id="0" name=""/>
        <dsp:cNvSpPr/>
      </dsp:nvSpPr>
      <dsp:spPr>
        <a:xfrm>
          <a:off x="9482340" y="927361"/>
          <a:ext cx="2322205" cy="475179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FFC000"/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3792" tIns="343741" rIns="113792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he largest plant globally is located in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China</a:t>
          </a:r>
          <a:r>
            <a:rPr lang="en-US" sz="1600" b="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with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150 MW</a:t>
          </a:r>
          <a:b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b="0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Ghana</a:t>
          </a:r>
          <a:r>
            <a:rPr lang="en-US" sz="1600" b="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has installed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5 MW</a:t>
          </a:r>
          <a:r>
            <a:rPr lang="en-US" sz="1600" b="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in 2020</a:t>
          </a:r>
          <a:br>
            <a:rPr lang="en-US" sz="1600" b="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b="0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Netherlands</a:t>
          </a:r>
          <a:r>
            <a:rPr lang="en-US" sz="1600" b="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has a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27.4 MW </a:t>
          </a:r>
          <a:r>
            <a:rPr lang="en-US" sz="1600" b="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plant</a:t>
          </a:r>
          <a:br>
            <a:rPr lang="en-US" sz="1600" b="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</a:br>
          <a:endParaRPr lang="en-US" sz="1600" b="0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Singapore </a:t>
          </a:r>
          <a:r>
            <a:rPr lang="en-US" sz="1600" b="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plans </a:t>
          </a:r>
          <a:r>
            <a:rPr lang="en-US" sz="1600" b="1" kern="1200" dirty="0">
              <a:solidFill>
                <a:srgbClr val="0872A6"/>
              </a:solidFill>
              <a:latin typeface="Calibri" panose="020F0502020204030204" pitchFamily="34" charset="0"/>
              <a:cs typeface="Calibri" panose="020F0502020204030204" pitchFamily="34" charset="0"/>
            </a:rPr>
            <a:t>50 MW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b="1" kern="1200" dirty="0">
            <a:solidFill>
              <a:srgbClr val="0872A6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9482340" y="927361"/>
        <a:ext cx="2322205" cy="4751794"/>
      </dsp:txXfrm>
    </dsp:sp>
    <dsp:sp modelId="{873CC04C-48B2-4B85-8EC9-40612DE49D45}">
      <dsp:nvSpPr>
        <dsp:cNvPr id="0" name=""/>
        <dsp:cNvSpPr/>
      </dsp:nvSpPr>
      <dsp:spPr>
        <a:xfrm>
          <a:off x="9282998" y="412887"/>
          <a:ext cx="779506" cy="779506"/>
        </a:xfrm>
        <a:prstGeom prst="rect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38100" cap="flat" cmpd="sng" algn="ctr">
          <a:solidFill>
            <a:srgbClr val="FFC000"/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6937C3-84EA-4D01-815B-C9B4599AF65A}">
      <dsp:nvSpPr>
        <dsp:cNvPr id="0" name=""/>
        <dsp:cNvSpPr/>
      </dsp:nvSpPr>
      <dsp:spPr>
        <a:xfrm>
          <a:off x="-6122738" y="-937410"/>
          <a:ext cx="7293488" cy="7293488"/>
        </a:xfrm>
        <a:prstGeom prst="blockArc">
          <a:avLst>
            <a:gd name="adj1" fmla="val 18900000"/>
            <a:gd name="adj2" fmla="val 2700000"/>
            <a:gd name="adj3" fmla="val 296"/>
          </a:avLst>
        </a:prstGeom>
        <a:solidFill>
          <a:srgbClr val="BAE3ED"/>
        </a:solidFill>
        <a:ln w="12700" cap="flat" cmpd="sng" algn="ctr">
          <a:solidFill>
            <a:srgbClr val="BAE3ED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C0CC521-B337-4486-842E-B44CEAD72007}">
      <dsp:nvSpPr>
        <dsp:cNvPr id="0" name=""/>
        <dsp:cNvSpPr/>
      </dsp:nvSpPr>
      <dsp:spPr>
        <a:xfrm>
          <a:off x="380119" y="246332"/>
          <a:ext cx="6816499" cy="492448"/>
        </a:xfrm>
        <a:prstGeom prst="rect">
          <a:avLst/>
        </a:prstGeom>
        <a:blipFill>
          <a:blip xmlns:r="http://schemas.openxmlformats.org/officeDocument/2006/relationships" r:embed="rId1">
            <a:duotone>
              <a:schemeClr val="lt1">
                <a:hueOff val="0"/>
                <a:satOff val="0"/>
                <a:lumOff val="0"/>
                <a:alphaOff val="0"/>
                <a:tint val="30000"/>
                <a:satMod val="300000"/>
              </a:schemeClr>
              <a:schemeClr val="lt1">
                <a:hueOff val="0"/>
                <a:satOff val="0"/>
                <a:lumOff val="0"/>
                <a:alphaOff val="0"/>
                <a:tint val="40000"/>
                <a:satMod val="200000"/>
              </a:schemeClr>
            </a:duotone>
          </a:blip>
          <a:tile tx="0" ty="0" sx="70000" sy="70000" flip="none" algn="ctr"/>
        </a:blipFill>
        <a:ln>
          <a:noFill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90881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Acknowledge</a:t>
          </a:r>
          <a:r>
            <a:rPr lang="en-US" sz="1500" kern="1200" dirty="0"/>
            <a:t> the key role of offshore renewables at G20 ministerial level.</a:t>
          </a:r>
        </a:p>
      </dsp:txBody>
      <dsp:txXfrm>
        <a:off x="380119" y="246332"/>
        <a:ext cx="6816499" cy="492448"/>
      </dsp:txXfrm>
    </dsp:sp>
    <dsp:sp modelId="{217F7079-7386-4A28-A6B0-83473D0085E0}">
      <dsp:nvSpPr>
        <dsp:cNvPr id="0" name=""/>
        <dsp:cNvSpPr/>
      </dsp:nvSpPr>
      <dsp:spPr>
        <a:xfrm>
          <a:off x="72339" y="184776"/>
          <a:ext cx="615560" cy="615560"/>
        </a:xfrm>
        <a:prstGeom prst="ellipse">
          <a:avLst/>
        </a:prstGeom>
        <a:solidFill>
          <a:srgbClr val="BAE3ED"/>
        </a:solidFill>
        <a:ln w="9525" cap="flat" cmpd="sng" algn="ctr">
          <a:solidFill>
            <a:schemeClr val="bg1"/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87F59655-F1CB-4060-BF1C-AE0EB72E78CD}">
      <dsp:nvSpPr>
        <dsp:cNvPr id="0" name=""/>
        <dsp:cNvSpPr/>
      </dsp:nvSpPr>
      <dsp:spPr>
        <a:xfrm>
          <a:off x="826075" y="985438"/>
          <a:ext cx="6370543" cy="492448"/>
        </a:xfrm>
        <a:prstGeom prst="rect">
          <a:avLst/>
        </a:prstGeom>
        <a:blipFill>
          <a:blip xmlns:r="http://schemas.openxmlformats.org/officeDocument/2006/relationships" r:embed="rId1">
            <a:duotone>
              <a:schemeClr val="lt1">
                <a:hueOff val="0"/>
                <a:satOff val="0"/>
                <a:lumOff val="0"/>
                <a:alphaOff val="0"/>
                <a:tint val="30000"/>
                <a:satMod val="300000"/>
              </a:schemeClr>
              <a:schemeClr val="lt1">
                <a:hueOff val="0"/>
                <a:satOff val="0"/>
                <a:lumOff val="0"/>
                <a:alphaOff val="0"/>
                <a:tint val="40000"/>
                <a:satMod val="200000"/>
              </a:schemeClr>
            </a:duotone>
          </a:blip>
          <a:tile tx="0" ty="0" sx="70000" sy="70000" flip="none" algn="ctr"/>
        </a:blipFill>
        <a:ln>
          <a:noFill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90881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G20 to </a:t>
          </a:r>
          <a:r>
            <a:rPr lang="en-US" sz="1500" b="1" kern="1200" dirty="0"/>
            <a:t>cooperate</a:t>
          </a:r>
          <a:r>
            <a:rPr lang="en-US" sz="1500" kern="1200" dirty="0"/>
            <a:t> with IRENA’s Collaborative Framework to </a:t>
          </a:r>
          <a:r>
            <a:rPr lang="en-US" sz="1500" b="1" kern="1200" dirty="0"/>
            <a:t>collect</a:t>
          </a:r>
          <a:r>
            <a:rPr lang="en-US" sz="1500" kern="1200" dirty="0"/>
            <a:t> and disseminate key data on Offshore Renewables. </a:t>
          </a:r>
        </a:p>
      </dsp:txBody>
      <dsp:txXfrm>
        <a:off x="826075" y="985438"/>
        <a:ext cx="6370543" cy="492448"/>
      </dsp:txXfrm>
    </dsp:sp>
    <dsp:sp modelId="{FF5D9E47-29EA-4F5B-B13E-7FC6670697CD}">
      <dsp:nvSpPr>
        <dsp:cNvPr id="0" name=""/>
        <dsp:cNvSpPr/>
      </dsp:nvSpPr>
      <dsp:spPr>
        <a:xfrm>
          <a:off x="518295" y="923882"/>
          <a:ext cx="615560" cy="615560"/>
        </a:xfrm>
        <a:prstGeom prst="ellipse">
          <a:avLst/>
        </a:prstGeom>
        <a:solidFill>
          <a:srgbClr val="BAE3ED"/>
        </a:solidFill>
        <a:ln w="9525" cap="flat" cmpd="sng" algn="ctr">
          <a:solidFill>
            <a:schemeClr val="bg1"/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320D76A9-81F6-48B8-B7D7-C18EB3CE9B40}">
      <dsp:nvSpPr>
        <dsp:cNvPr id="0" name=""/>
        <dsp:cNvSpPr/>
      </dsp:nvSpPr>
      <dsp:spPr>
        <a:xfrm>
          <a:off x="1070457" y="1724003"/>
          <a:ext cx="6126161" cy="492448"/>
        </a:xfrm>
        <a:prstGeom prst="rect">
          <a:avLst/>
        </a:prstGeom>
        <a:blipFill>
          <a:blip xmlns:r="http://schemas.openxmlformats.org/officeDocument/2006/relationships" r:embed="rId1">
            <a:duotone>
              <a:schemeClr val="lt1">
                <a:hueOff val="0"/>
                <a:satOff val="0"/>
                <a:lumOff val="0"/>
                <a:alphaOff val="0"/>
                <a:tint val="30000"/>
                <a:satMod val="300000"/>
              </a:schemeClr>
              <a:schemeClr val="lt1">
                <a:hueOff val="0"/>
                <a:satOff val="0"/>
                <a:lumOff val="0"/>
                <a:alphaOff val="0"/>
                <a:tint val="40000"/>
                <a:satMod val="200000"/>
              </a:schemeClr>
            </a:duotone>
          </a:blip>
          <a:tile tx="0" ty="0" sx="70000" sy="70000" flip="none" algn="ctr"/>
        </a:blipFill>
        <a:ln>
          <a:noFill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90881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Promote</a:t>
          </a:r>
          <a:r>
            <a:rPr lang="en-US" sz="1500" kern="1200" dirty="0"/>
            <a:t> G20 countries to include offshore renewables in national energy and climate policies -e.g. NDCs.</a:t>
          </a:r>
        </a:p>
      </dsp:txBody>
      <dsp:txXfrm>
        <a:off x="1070457" y="1724003"/>
        <a:ext cx="6126161" cy="492448"/>
      </dsp:txXfrm>
    </dsp:sp>
    <dsp:sp modelId="{4D85C446-53CC-4A08-BF31-43075A800E7C}">
      <dsp:nvSpPr>
        <dsp:cNvPr id="0" name=""/>
        <dsp:cNvSpPr/>
      </dsp:nvSpPr>
      <dsp:spPr>
        <a:xfrm>
          <a:off x="762677" y="1662447"/>
          <a:ext cx="615560" cy="615560"/>
        </a:xfrm>
        <a:prstGeom prst="ellipse">
          <a:avLst/>
        </a:prstGeom>
        <a:solidFill>
          <a:srgbClr val="BAE3ED"/>
        </a:solidFill>
        <a:ln w="9525" cap="flat" cmpd="sng" algn="ctr">
          <a:solidFill>
            <a:schemeClr val="bg1"/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8A64C8AA-C7CD-4906-B824-8F2A57550E5F}">
      <dsp:nvSpPr>
        <dsp:cNvPr id="0" name=""/>
        <dsp:cNvSpPr/>
      </dsp:nvSpPr>
      <dsp:spPr>
        <a:xfrm>
          <a:off x="1148486" y="2463109"/>
          <a:ext cx="6048132" cy="492448"/>
        </a:xfrm>
        <a:prstGeom prst="rect">
          <a:avLst/>
        </a:prstGeom>
        <a:blipFill>
          <a:blip xmlns:r="http://schemas.openxmlformats.org/officeDocument/2006/relationships" r:embed="rId1">
            <a:duotone>
              <a:schemeClr val="lt1">
                <a:hueOff val="0"/>
                <a:satOff val="0"/>
                <a:lumOff val="0"/>
                <a:alphaOff val="0"/>
                <a:tint val="30000"/>
                <a:satMod val="300000"/>
              </a:schemeClr>
              <a:schemeClr val="lt1">
                <a:hueOff val="0"/>
                <a:satOff val="0"/>
                <a:lumOff val="0"/>
                <a:alphaOff val="0"/>
                <a:tint val="40000"/>
                <a:satMod val="200000"/>
              </a:schemeClr>
            </a:duotone>
          </a:blip>
          <a:tile tx="0" ty="0" sx="70000" sy="70000" flip="none" algn="ctr"/>
        </a:blipFill>
        <a:ln>
          <a:noFill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90881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Support</a:t>
          </a:r>
          <a:r>
            <a:rPr lang="en-US" sz="1500" kern="1200" dirty="0"/>
            <a:t> increase public investments in RD&amp;D for all offshore renewable technologies.</a:t>
          </a:r>
        </a:p>
      </dsp:txBody>
      <dsp:txXfrm>
        <a:off x="1148486" y="2463109"/>
        <a:ext cx="6048132" cy="492448"/>
      </dsp:txXfrm>
    </dsp:sp>
    <dsp:sp modelId="{AB1795B9-EC74-4F95-84B8-247D948DD177}">
      <dsp:nvSpPr>
        <dsp:cNvPr id="0" name=""/>
        <dsp:cNvSpPr/>
      </dsp:nvSpPr>
      <dsp:spPr>
        <a:xfrm>
          <a:off x="840706" y="2401553"/>
          <a:ext cx="615560" cy="615560"/>
        </a:xfrm>
        <a:prstGeom prst="ellipse">
          <a:avLst/>
        </a:prstGeom>
        <a:solidFill>
          <a:srgbClr val="BAE3ED"/>
        </a:solidFill>
        <a:ln w="9525" cap="flat" cmpd="sng" algn="ctr">
          <a:solidFill>
            <a:schemeClr val="bg1"/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05391EB1-6D6B-4245-A876-0B5DAC501DA0}">
      <dsp:nvSpPr>
        <dsp:cNvPr id="0" name=""/>
        <dsp:cNvSpPr/>
      </dsp:nvSpPr>
      <dsp:spPr>
        <a:xfrm>
          <a:off x="1070457" y="3202215"/>
          <a:ext cx="6126161" cy="492448"/>
        </a:xfrm>
        <a:prstGeom prst="rect">
          <a:avLst/>
        </a:prstGeom>
        <a:blipFill>
          <a:blip xmlns:r="http://schemas.openxmlformats.org/officeDocument/2006/relationships" r:embed="rId1">
            <a:duotone>
              <a:schemeClr val="lt1">
                <a:hueOff val="0"/>
                <a:satOff val="0"/>
                <a:lumOff val="0"/>
                <a:alphaOff val="0"/>
                <a:tint val="30000"/>
                <a:satMod val="300000"/>
              </a:schemeClr>
              <a:schemeClr val="lt1">
                <a:hueOff val="0"/>
                <a:satOff val="0"/>
                <a:lumOff val="0"/>
                <a:alphaOff val="0"/>
                <a:tint val="40000"/>
                <a:satMod val="200000"/>
              </a:schemeClr>
            </a:duotone>
          </a:blip>
          <a:tile tx="0" ty="0" sx="70000" sy="70000" flip="none" algn="ctr"/>
        </a:blipFill>
        <a:ln>
          <a:noFill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90881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Design</a:t>
          </a:r>
          <a:r>
            <a:rPr lang="en-US" sz="1500" kern="1200" dirty="0"/>
            <a:t> and </a:t>
          </a:r>
          <a:r>
            <a:rPr lang="en-US" sz="1500" b="1" kern="1200" dirty="0"/>
            <a:t>implement</a:t>
          </a:r>
          <a:r>
            <a:rPr lang="en-US" sz="1500" kern="1200" dirty="0"/>
            <a:t> joint RD&amp;D projects at commercial scale</a:t>
          </a:r>
        </a:p>
      </dsp:txBody>
      <dsp:txXfrm>
        <a:off x="1070457" y="3202215"/>
        <a:ext cx="6126161" cy="492448"/>
      </dsp:txXfrm>
    </dsp:sp>
    <dsp:sp modelId="{FBE84F6D-277E-4A6F-92E3-131472CD7F7C}">
      <dsp:nvSpPr>
        <dsp:cNvPr id="0" name=""/>
        <dsp:cNvSpPr/>
      </dsp:nvSpPr>
      <dsp:spPr>
        <a:xfrm>
          <a:off x="762677" y="3140659"/>
          <a:ext cx="615560" cy="615560"/>
        </a:xfrm>
        <a:prstGeom prst="ellipse">
          <a:avLst/>
        </a:prstGeom>
        <a:solidFill>
          <a:srgbClr val="BAE3ED"/>
        </a:solidFill>
        <a:ln w="9525" cap="flat" cmpd="sng" algn="ctr">
          <a:solidFill>
            <a:schemeClr val="bg1"/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037BB9FC-1E6D-4932-A1D8-C86975408FF0}">
      <dsp:nvSpPr>
        <dsp:cNvPr id="0" name=""/>
        <dsp:cNvSpPr/>
      </dsp:nvSpPr>
      <dsp:spPr>
        <a:xfrm>
          <a:off x="826075" y="3940779"/>
          <a:ext cx="6370543" cy="492448"/>
        </a:xfrm>
        <a:prstGeom prst="rect">
          <a:avLst/>
        </a:prstGeom>
        <a:blipFill>
          <a:blip xmlns:r="http://schemas.openxmlformats.org/officeDocument/2006/relationships" r:embed="rId1">
            <a:duotone>
              <a:schemeClr val="lt1">
                <a:hueOff val="0"/>
                <a:satOff val="0"/>
                <a:lumOff val="0"/>
                <a:alphaOff val="0"/>
                <a:tint val="30000"/>
                <a:satMod val="300000"/>
              </a:schemeClr>
              <a:schemeClr val="lt1">
                <a:hueOff val="0"/>
                <a:satOff val="0"/>
                <a:lumOff val="0"/>
                <a:alphaOff val="0"/>
                <a:tint val="40000"/>
                <a:satMod val="200000"/>
              </a:schemeClr>
            </a:duotone>
          </a:blip>
          <a:tile tx="0" ty="0" sx="70000" sy="70000" flip="none" algn="ctr"/>
        </a:blipFill>
        <a:ln>
          <a:noFill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90881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Promote</a:t>
          </a:r>
          <a:r>
            <a:rPr lang="en-US" sz="1500" kern="1200" dirty="0"/>
            <a:t> public-private partnerships for innovative offshore renewables like offshore wind-to-hydrogen generation units.</a:t>
          </a:r>
        </a:p>
      </dsp:txBody>
      <dsp:txXfrm>
        <a:off x="826075" y="3940779"/>
        <a:ext cx="6370543" cy="492448"/>
      </dsp:txXfrm>
    </dsp:sp>
    <dsp:sp modelId="{AD12F6F4-5710-497A-82A5-322D21F71A44}">
      <dsp:nvSpPr>
        <dsp:cNvPr id="0" name=""/>
        <dsp:cNvSpPr/>
      </dsp:nvSpPr>
      <dsp:spPr>
        <a:xfrm>
          <a:off x="518295" y="3879223"/>
          <a:ext cx="615560" cy="615560"/>
        </a:xfrm>
        <a:prstGeom prst="ellipse">
          <a:avLst/>
        </a:prstGeom>
        <a:solidFill>
          <a:srgbClr val="BAE3ED"/>
        </a:solidFill>
        <a:ln w="9525" cap="flat" cmpd="sng" algn="ctr">
          <a:solidFill>
            <a:schemeClr val="bg1"/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61A4F6C9-0F70-4E56-9DF9-62EA6B36ABBE}">
      <dsp:nvSpPr>
        <dsp:cNvPr id="0" name=""/>
        <dsp:cNvSpPr/>
      </dsp:nvSpPr>
      <dsp:spPr>
        <a:xfrm>
          <a:off x="380119" y="4679885"/>
          <a:ext cx="6816499" cy="492448"/>
        </a:xfrm>
        <a:prstGeom prst="rect">
          <a:avLst/>
        </a:prstGeom>
        <a:blipFill>
          <a:blip xmlns:r="http://schemas.openxmlformats.org/officeDocument/2006/relationships" r:embed="rId1">
            <a:duotone>
              <a:schemeClr val="lt1">
                <a:hueOff val="0"/>
                <a:satOff val="0"/>
                <a:lumOff val="0"/>
                <a:alphaOff val="0"/>
                <a:tint val="30000"/>
                <a:satMod val="300000"/>
              </a:schemeClr>
              <a:schemeClr val="lt1">
                <a:hueOff val="0"/>
                <a:satOff val="0"/>
                <a:lumOff val="0"/>
                <a:alphaOff val="0"/>
                <a:tint val="40000"/>
                <a:satMod val="200000"/>
              </a:schemeClr>
            </a:duotone>
          </a:blip>
          <a:tile tx="0" ty="0" sx="70000" sy="70000" flip="none" algn="ctr"/>
        </a:blipFill>
        <a:ln>
          <a:noFill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90881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Identify</a:t>
          </a:r>
          <a:r>
            <a:rPr lang="en-US" sz="1500" kern="1200" dirty="0"/>
            <a:t> and </a:t>
          </a:r>
          <a:r>
            <a:rPr lang="en-US" sz="1500" b="1" kern="1200" dirty="0"/>
            <a:t>promote</a:t>
          </a:r>
          <a:r>
            <a:rPr lang="en-US" sz="1500" kern="1200" dirty="0"/>
            <a:t> innovative financing mechanisms for offshore renewable technologies within the “Finance Track” of the G20.</a:t>
          </a:r>
        </a:p>
      </dsp:txBody>
      <dsp:txXfrm>
        <a:off x="380119" y="4679885"/>
        <a:ext cx="6816499" cy="492448"/>
      </dsp:txXfrm>
    </dsp:sp>
    <dsp:sp modelId="{474FD2FF-F5D4-435F-8A5B-589B13D5A4D2}">
      <dsp:nvSpPr>
        <dsp:cNvPr id="0" name=""/>
        <dsp:cNvSpPr/>
      </dsp:nvSpPr>
      <dsp:spPr>
        <a:xfrm>
          <a:off x="72339" y="4618329"/>
          <a:ext cx="615560" cy="615560"/>
        </a:xfrm>
        <a:prstGeom prst="ellipse">
          <a:avLst/>
        </a:prstGeom>
        <a:solidFill>
          <a:srgbClr val="BAE3ED"/>
        </a:solidFill>
        <a:ln w="9525" cap="flat" cmpd="sng" algn="ctr">
          <a:solidFill>
            <a:schemeClr val="bg1"/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0CA6FC0-4A79-40C0-A2F2-B2E56B0578B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360A097-4BB5-484A-B8CD-D508DB0FFD9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64F89A10-B6BE-4CCA-8548-A6684FFAF9EE}" type="datetime1">
              <a:rPr lang="en-US" altLang="en-US"/>
              <a:pPr>
                <a:defRPr/>
              </a:pPr>
              <a:t>1/13/2022</a:t>
            </a:fld>
            <a:endParaRPr lang="en-US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31C5DE-0DA5-4C97-9A44-A287171C65B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77DEB4-DFC5-42B3-B609-57737BF6D01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C76A2EF5-F1EB-4B78-AFA0-DEE0E5A0011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>
            <a:extLst>
              <a:ext uri="{FF2B5EF4-FFF2-40B4-BE49-F238E27FC236}">
                <a16:creationId xmlns:a16="http://schemas.microsoft.com/office/drawing/2014/main" id="{A65C9719-91A2-4522-96DA-34838DE36677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2" tIns="46587" rIns="93172" bIns="46587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147" name="Rectangle 3">
            <a:extLst>
              <a:ext uri="{FF2B5EF4-FFF2-40B4-BE49-F238E27FC236}">
                <a16:creationId xmlns:a16="http://schemas.microsoft.com/office/drawing/2014/main" id="{628816C4-2FE0-4FFB-83E3-C95D7122C62C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2" tIns="46587" rIns="93172" bIns="46587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9220" name="Rectangle 4">
            <a:extLst>
              <a:ext uri="{FF2B5EF4-FFF2-40B4-BE49-F238E27FC236}">
                <a16:creationId xmlns:a16="http://schemas.microsoft.com/office/drawing/2014/main" id="{4BE42883-5BC5-4806-BDCF-429BE40CE266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9" name="Rectangle 5">
            <a:extLst>
              <a:ext uri="{FF2B5EF4-FFF2-40B4-BE49-F238E27FC236}">
                <a16:creationId xmlns:a16="http://schemas.microsoft.com/office/drawing/2014/main" id="{222E3F0A-7D12-4650-8631-36ED5CED2C67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14875"/>
            <a:ext cx="5435600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2" tIns="46587" rIns="93172" bIns="465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noProof="0"/>
              <a:t>Textmasterformate durch Klicken bearbeiten</a:t>
            </a:r>
          </a:p>
          <a:p>
            <a:pPr lvl="1"/>
            <a:r>
              <a:rPr lang="de-DE" altLang="en-US" noProof="0"/>
              <a:t>Zweite Ebene</a:t>
            </a:r>
          </a:p>
          <a:p>
            <a:pPr lvl="2"/>
            <a:r>
              <a:rPr lang="de-DE" altLang="en-US" noProof="0"/>
              <a:t>Dritte Ebene</a:t>
            </a:r>
          </a:p>
          <a:p>
            <a:pPr lvl="3"/>
            <a:r>
              <a:rPr lang="de-DE" altLang="en-US" noProof="0"/>
              <a:t>Vierte Ebene</a:t>
            </a:r>
          </a:p>
          <a:p>
            <a:pPr lvl="4"/>
            <a:r>
              <a:rPr lang="de-DE" altLang="en-US" noProof="0"/>
              <a:t>Fünfte Ebene</a:t>
            </a:r>
          </a:p>
        </p:txBody>
      </p:sp>
      <p:sp>
        <p:nvSpPr>
          <p:cNvPr id="6150" name="Rectangle 6">
            <a:extLst>
              <a:ext uri="{FF2B5EF4-FFF2-40B4-BE49-F238E27FC236}">
                <a16:creationId xmlns:a16="http://schemas.microsoft.com/office/drawing/2014/main" id="{8B718E39-0923-4320-BA4F-ECDFE5B758FF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2" tIns="46587" rIns="93172" bIns="46587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151" name="Rectangle 7">
            <a:extLst>
              <a:ext uri="{FF2B5EF4-FFF2-40B4-BE49-F238E27FC236}">
                <a16:creationId xmlns:a16="http://schemas.microsoft.com/office/drawing/2014/main" id="{65F52D85-8635-426A-95DD-6E83B78E078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2" tIns="46587" rIns="93172" bIns="46587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8A99A569-DADA-4D19-823A-349E29A51506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MS PGothic" panose="020B0600070205080204" pitchFamily="34" charset="-128"/>
        <a:cs typeface="Arial" charset="0"/>
      </a:defRPr>
    </a:lvl1pPr>
    <a:lvl2pPr marL="511175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MS PGothic" panose="020B0600070205080204" pitchFamily="34" charset="-128"/>
        <a:cs typeface="Arial" charset="0"/>
      </a:defRPr>
    </a:lvl2pPr>
    <a:lvl3pPr marL="1022350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MS PGothic" panose="020B0600070205080204" pitchFamily="34" charset="-128"/>
        <a:cs typeface="Arial" charset="0"/>
      </a:defRPr>
    </a:lvl3pPr>
    <a:lvl4pPr marL="1535113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MS PGothic" panose="020B0600070205080204" pitchFamily="34" charset="-128"/>
        <a:cs typeface="Arial" charset="0"/>
      </a:defRPr>
    </a:lvl4pPr>
    <a:lvl5pPr marL="2046288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MS PGothic" panose="020B0600070205080204" pitchFamily="34" charset="-128"/>
        <a:cs typeface="Arial" charset="0"/>
      </a:defRPr>
    </a:lvl5pPr>
    <a:lvl6pPr marL="2558807" algn="l" defTabSz="102352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0568" algn="l" defTabSz="102352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2330" algn="l" defTabSz="102352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4092" algn="l" defTabSz="102352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Image Placeholder 1">
            <a:extLst>
              <a:ext uri="{FF2B5EF4-FFF2-40B4-BE49-F238E27FC236}">
                <a16:creationId xmlns:a16="http://schemas.microsoft.com/office/drawing/2014/main" id="{E3524393-DF7C-4CBF-BAC6-E927BA80747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1" name="Notes Placeholder 2">
            <a:extLst>
              <a:ext uri="{FF2B5EF4-FFF2-40B4-BE49-F238E27FC236}">
                <a16:creationId xmlns:a16="http://schemas.microsoft.com/office/drawing/2014/main" id="{BDF6DD4D-E424-4EC5-B29E-8B5FFFEC64B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92" name="Slide Number Placeholder 3">
            <a:extLst>
              <a:ext uri="{FF2B5EF4-FFF2-40B4-BE49-F238E27FC236}">
                <a16:creationId xmlns:a16="http://schemas.microsoft.com/office/drawing/2014/main" id="{B4706DE3-A118-4AA7-A744-D69B1FB5EA5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D57ECE08-CFD3-4D4F-A113-F9E04FA2E6FB}" type="slidenum">
              <a:rPr lang="de-DE" altLang="en-US" smtClean="0"/>
              <a:pPr/>
              <a:t>1</a:t>
            </a:fld>
            <a:endParaRPr lang="de-DE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>
            <a:extLst>
              <a:ext uri="{FF2B5EF4-FFF2-40B4-BE49-F238E27FC236}">
                <a16:creationId xmlns:a16="http://schemas.microsoft.com/office/drawing/2014/main" id="{3571BC27-A5A1-4466-B135-8CD28569737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699" name="Notes Placeholder 2">
            <a:extLst>
              <a:ext uri="{FF2B5EF4-FFF2-40B4-BE49-F238E27FC236}">
                <a16:creationId xmlns:a16="http://schemas.microsoft.com/office/drawing/2014/main" id="{BA14DE0F-4FEA-46DB-B187-8BC3DDB795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lvl="1" indent="0">
              <a:buFont typeface="Wingdings" panose="05000000000000000000" pitchFamily="2" charset="2"/>
              <a:buNone/>
            </a:pPr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buFont typeface="Wingdings" panose="05000000000000000000" pitchFamily="2" charset="2"/>
              <a:buNone/>
            </a:pPr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700" name="Slide Number Placeholder 3">
            <a:extLst>
              <a:ext uri="{FF2B5EF4-FFF2-40B4-BE49-F238E27FC236}">
                <a16:creationId xmlns:a16="http://schemas.microsoft.com/office/drawing/2014/main" id="{1F8C479B-9244-4CCF-89AB-BC8FE41EDF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37931725" indent="-37474525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03488" indent="-2174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60688" indent="-2174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17888" indent="-2174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75088" indent="-2174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853154-5B5E-4C20-91CB-B87A316A9862}" type="slidenum">
              <a:rPr kumimoji="0" lang="de-DE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92462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0" y="2876005"/>
            <a:ext cx="8638117" cy="2876003"/>
          </a:xfrm>
          <a:solidFill>
            <a:srgbClr val="0872A6"/>
          </a:solidFill>
        </p:spPr>
        <p:txBody>
          <a:bodyPr lIns="402962" tIns="201480" rIns="402962" bIns="402962"/>
          <a:lstStyle>
            <a:lvl1pPr>
              <a:lnSpc>
                <a:spcPct val="110000"/>
              </a:lnSpc>
              <a:defRPr sz="35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9744513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09D6400B-309E-472F-8345-60D760A55FB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>
              <a:defRPr/>
            </a:pPr>
            <a:fld id="{672535E7-8435-4E09-8D48-898B6A9BD272}" type="slidenum">
              <a:rPr lang="de-DE" altLang="en-US" smtClean="0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4364943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E9E07384-4AA7-4E3D-B43A-1AF9DC3414F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>
              <a:defRPr/>
            </a:pPr>
            <a:fld id="{4234A8A4-797E-4A59-907F-33F3F64F567D}" type="slidenum">
              <a:rPr lang="de-DE" altLang="en-US" smtClean="0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7050203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13DE8E0D-BE98-4637-BAB9-F94953699FE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D0B22D-46FC-468F-9D27-E395A59D3E33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5202603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60C9A-709C-49C5-8299-AA97DECC5142}" type="datetimeFigureOut">
              <a:rPr lang="en-US" smtClean="0"/>
              <a:t>1/1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710A1A-9D52-4835-A90D-C038B7A0FE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6360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l-G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9246C0-A1F4-4F5F-8341-9075CB55C5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5F3B6A-60B2-46DC-8367-FAF6204B2598}" type="datetimeFigureOut">
              <a:rPr lang="el-GR"/>
              <a:pPr>
                <a:defRPr/>
              </a:pPr>
              <a:t>13/1/2022</a:t>
            </a:fld>
            <a:endParaRPr lang="el-G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907AE5-A90A-4A6A-8FA4-46C37A0A1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F80831-7B90-4A87-B0CF-7A3A568314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C46242-AB5E-4E69-BBB7-9C4B07DF8C89}" type="slidenum">
              <a:rPr lang="el-GR" altLang="en-US"/>
              <a:pPr>
                <a:defRPr/>
              </a:pPr>
              <a:t>‹#›</a:t>
            </a:fld>
            <a:endParaRPr lang="el-GR" altLang="en-US"/>
          </a:p>
        </p:txBody>
      </p:sp>
    </p:spTree>
    <p:extLst>
      <p:ext uri="{BB962C8B-B14F-4D97-AF65-F5344CB8AC3E}">
        <p14:creationId xmlns:p14="http://schemas.microsoft.com/office/powerpoint/2010/main" val="1483824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86C438-CE2A-43F8-B0BA-25B93448D3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E732E7-E693-48A6-9F45-542538027DE1}" type="datetimeFigureOut">
              <a:rPr lang="el-GR"/>
              <a:pPr>
                <a:defRPr/>
              </a:pPr>
              <a:t>13/1/2022</a:t>
            </a:fld>
            <a:endParaRPr lang="el-G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6D3C80-C53A-4871-8D37-F887243617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38E335-4DF7-46D1-BAD3-D7A3110085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B0F76F-4458-4C4F-A7B7-5769450FF6ED}" type="slidenum">
              <a:rPr lang="el-GR" altLang="en-US"/>
              <a:pPr>
                <a:defRPr/>
              </a:pPr>
              <a:t>‹#›</a:t>
            </a:fld>
            <a:endParaRPr lang="el-GR" altLang="en-US"/>
          </a:p>
        </p:txBody>
      </p:sp>
    </p:spTree>
    <p:extLst>
      <p:ext uri="{BB962C8B-B14F-4D97-AF65-F5344CB8AC3E}">
        <p14:creationId xmlns:p14="http://schemas.microsoft.com/office/powerpoint/2010/main" val="6374478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59A2D4-54CC-4DC1-AF35-63445E90C7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B1B6DC-5BD3-4BAE-B295-E89261CEEE89}" type="datetimeFigureOut">
              <a:rPr lang="el-GR"/>
              <a:pPr>
                <a:defRPr/>
              </a:pPr>
              <a:t>13/1/2022</a:t>
            </a:fld>
            <a:endParaRPr lang="el-G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37EEC3-3BC3-412D-8358-D6C5BBF9CB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CE6140-665F-4AEE-A1D2-1722AD1BC5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35894E-1B7E-47FA-8899-6321CDE69ADC}" type="slidenum">
              <a:rPr lang="el-GR" altLang="en-US"/>
              <a:pPr>
                <a:defRPr/>
              </a:pPr>
              <a:t>‹#›</a:t>
            </a:fld>
            <a:endParaRPr lang="el-GR" altLang="en-US"/>
          </a:p>
        </p:txBody>
      </p:sp>
    </p:spTree>
    <p:extLst>
      <p:ext uri="{BB962C8B-B14F-4D97-AF65-F5344CB8AC3E}">
        <p14:creationId xmlns:p14="http://schemas.microsoft.com/office/powerpoint/2010/main" val="2164149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5B40627C-C8F9-40C4-9ACD-97F5956FEF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D81904-7C94-4F05-B530-99BB5ABE7AF3}" type="datetimeFigureOut">
              <a:rPr lang="el-GR"/>
              <a:pPr>
                <a:defRPr/>
              </a:pPr>
              <a:t>13/1/2022</a:t>
            </a:fld>
            <a:endParaRPr lang="el-GR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CB3A03E-5EF0-4243-8E18-728DCB167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EE66720-F85E-4B53-A3EA-481A8CB9FC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59A576-ECE3-4744-A8A9-CFEE0294749B}" type="slidenum">
              <a:rPr lang="el-GR" altLang="en-US"/>
              <a:pPr>
                <a:defRPr/>
              </a:pPr>
              <a:t>‹#›</a:t>
            </a:fld>
            <a:endParaRPr lang="el-GR" altLang="en-US"/>
          </a:p>
        </p:txBody>
      </p:sp>
    </p:spTree>
    <p:extLst>
      <p:ext uri="{BB962C8B-B14F-4D97-AF65-F5344CB8AC3E}">
        <p14:creationId xmlns:p14="http://schemas.microsoft.com/office/powerpoint/2010/main" val="23381628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EB0154EC-885B-4C25-B082-3F080F1FB3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B308-9A5A-4983-9C41-0E57928D6892}" type="datetimeFigureOut">
              <a:rPr lang="el-GR"/>
              <a:pPr>
                <a:defRPr/>
              </a:pPr>
              <a:t>13/1/2022</a:t>
            </a:fld>
            <a:endParaRPr lang="el-GR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5995B0B-A536-4384-A9F9-CAEAAF8E94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D49E586-F656-4834-9814-1868AC1A9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ADC7C7-49A2-4AE8-B9C6-AC01FF53F096}" type="slidenum">
              <a:rPr lang="el-GR" altLang="en-US"/>
              <a:pPr>
                <a:defRPr/>
              </a:pPr>
              <a:t>‹#›</a:t>
            </a:fld>
            <a:endParaRPr lang="el-GR" altLang="en-US"/>
          </a:p>
        </p:txBody>
      </p:sp>
    </p:spTree>
    <p:extLst>
      <p:ext uri="{BB962C8B-B14F-4D97-AF65-F5344CB8AC3E}">
        <p14:creationId xmlns:p14="http://schemas.microsoft.com/office/powerpoint/2010/main" val="6157720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8ADDE14C-920B-4353-9CDE-4BF32243D7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5846E6-C68C-4345-91C0-C4ECF9C43ACE}" type="datetimeFigureOut">
              <a:rPr lang="el-GR"/>
              <a:pPr>
                <a:defRPr/>
              </a:pPr>
              <a:t>13/1/2022</a:t>
            </a:fld>
            <a:endParaRPr lang="el-GR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75B4A49-3F36-4417-85E4-7AEB63275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07F605D-8C1F-4A17-BD61-ABA8750033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A4F365-DB34-4F23-BB1F-39D8F0136CEB}" type="slidenum">
              <a:rPr lang="el-GR" altLang="en-US"/>
              <a:pPr>
                <a:defRPr/>
              </a:pPr>
              <a:t>‹#›</a:t>
            </a:fld>
            <a:endParaRPr lang="el-GR" altLang="en-US"/>
          </a:p>
        </p:txBody>
      </p:sp>
    </p:spTree>
    <p:extLst>
      <p:ext uri="{BB962C8B-B14F-4D97-AF65-F5344CB8AC3E}">
        <p14:creationId xmlns:p14="http://schemas.microsoft.com/office/powerpoint/2010/main" val="29658159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34DAF578-097C-4D95-97F2-5B5120CB9898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+mj-lt"/>
                <a:ea typeface="Cambria" panose="02040503050406030204" pitchFamily="18" charset="0"/>
              </a:defRPr>
            </a:lvl1pPr>
          </a:lstStyle>
          <a:p>
            <a:pPr>
              <a:defRPr/>
            </a:pPr>
            <a:fld id="{9F40C168-814B-4796-9FE0-A5C71BEDF02F}" type="slidenum">
              <a:rPr lang="de-DE" altLang="en-US" smtClean="0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4314851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CA5B054E-096C-4E2B-8646-7DD00E3AC9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FE77F2-9AB3-4D4A-B4B6-A8D6665A4429}" type="datetimeFigureOut">
              <a:rPr lang="el-GR"/>
              <a:pPr>
                <a:defRPr/>
              </a:pPr>
              <a:t>13/1/2022</a:t>
            </a:fld>
            <a:endParaRPr lang="el-GR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6EAB6D24-F8F0-4900-93BE-2C671A5D34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40B26D3-0A33-407A-A136-D2B5D082F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FCDDD1-617D-4FAC-9904-2F04C4874844}" type="slidenum">
              <a:rPr lang="el-GR" altLang="en-US"/>
              <a:pPr>
                <a:defRPr/>
              </a:pPr>
              <a:t>‹#›</a:t>
            </a:fld>
            <a:endParaRPr lang="el-GR" altLang="en-US"/>
          </a:p>
        </p:txBody>
      </p:sp>
    </p:spTree>
    <p:extLst>
      <p:ext uri="{BB962C8B-B14F-4D97-AF65-F5344CB8AC3E}">
        <p14:creationId xmlns:p14="http://schemas.microsoft.com/office/powerpoint/2010/main" val="13560712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6F87675E-7F35-4049-8737-487A2EBB7C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C3A87D-04A1-4140-8B0B-B988234F6F96}" type="datetimeFigureOut">
              <a:rPr lang="el-GR"/>
              <a:pPr>
                <a:defRPr/>
              </a:pPr>
              <a:t>13/1/2022</a:t>
            </a:fld>
            <a:endParaRPr lang="el-GR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0332C4C-9F47-4D69-AC09-18C18B8BB2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06B3737-4C07-41DD-A0E4-5CA3A7BED7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055050-4A99-4236-AFB6-CC80811CE674}" type="slidenum">
              <a:rPr lang="el-GR" altLang="en-US"/>
              <a:pPr>
                <a:defRPr/>
              </a:pPr>
              <a:t>‹#›</a:t>
            </a:fld>
            <a:endParaRPr lang="el-GR" altLang="en-US"/>
          </a:p>
        </p:txBody>
      </p:sp>
    </p:spTree>
    <p:extLst>
      <p:ext uri="{BB962C8B-B14F-4D97-AF65-F5344CB8AC3E}">
        <p14:creationId xmlns:p14="http://schemas.microsoft.com/office/powerpoint/2010/main" val="9513981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l-GR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9887B8A-FC27-40FB-AAB1-B170AD4A24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F41697-2F11-4944-9539-5D4DD60A1801}" type="datetimeFigureOut">
              <a:rPr lang="el-GR"/>
              <a:pPr>
                <a:defRPr/>
              </a:pPr>
              <a:t>13/1/2022</a:t>
            </a:fld>
            <a:endParaRPr lang="el-GR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0BE9D3B-1646-496E-ADFA-90D14835D9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839CF07-DCC6-4FEE-9224-5847FF5F86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E3644A-3D0F-48C9-B015-7CF53A40BAFA}" type="slidenum">
              <a:rPr lang="el-GR" altLang="en-US"/>
              <a:pPr>
                <a:defRPr/>
              </a:pPr>
              <a:t>‹#›</a:t>
            </a:fld>
            <a:endParaRPr lang="el-GR" altLang="en-US"/>
          </a:p>
        </p:txBody>
      </p:sp>
    </p:spTree>
    <p:extLst>
      <p:ext uri="{BB962C8B-B14F-4D97-AF65-F5344CB8AC3E}">
        <p14:creationId xmlns:p14="http://schemas.microsoft.com/office/powerpoint/2010/main" val="12423620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9DC2AC-01BB-4C73-B644-BEB1C2DC11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DAB6E8-24D1-4B77-A19D-6932AE5D42E7}" type="datetimeFigureOut">
              <a:rPr lang="el-GR"/>
              <a:pPr>
                <a:defRPr/>
              </a:pPr>
              <a:t>13/1/2022</a:t>
            </a:fld>
            <a:endParaRPr lang="el-G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F5AE1D-B236-49CE-A818-B0ADFD416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CC7ED3-46E2-48F8-BDFD-752F563E0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F11AC9-30AB-49CC-95EE-C4B5195BE166}" type="slidenum">
              <a:rPr lang="el-GR" altLang="en-US"/>
              <a:pPr>
                <a:defRPr/>
              </a:pPr>
              <a:t>‹#›</a:t>
            </a:fld>
            <a:endParaRPr lang="el-GR" altLang="en-US"/>
          </a:p>
        </p:txBody>
      </p:sp>
    </p:spTree>
    <p:extLst>
      <p:ext uri="{BB962C8B-B14F-4D97-AF65-F5344CB8AC3E}">
        <p14:creationId xmlns:p14="http://schemas.microsoft.com/office/powerpoint/2010/main" val="31142854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567BEE-1874-4C83-89F8-746B4D571F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4C07E2-B1A1-4A18-B9CF-0AA20B0FE13D}" type="datetimeFigureOut">
              <a:rPr lang="el-GR"/>
              <a:pPr>
                <a:defRPr/>
              </a:pPr>
              <a:t>13/1/2022</a:t>
            </a:fld>
            <a:endParaRPr lang="el-G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CAC3E8-39F9-4D84-B4C4-B2A57BEB64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A4696F-9AB1-46CE-B1D4-7BC25B528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485F4E-870F-467C-8975-0DBE257F5CF1}" type="slidenum">
              <a:rPr lang="el-GR" altLang="en-US"/>
              <a:pPr>
                <a:defRPr/>
              </a:pPr>
              <a:t>‹#›</a:t>
            </a:fld>
            <a:endParaRPr lang="el-GR" altLang="en-US"/>
          </a:p>
        </p:txBody>
      </p:sp>
    </p:spTree>
    <p:extLst>
      <p:ext uri="{BB962C8B-B14F-4D97-AF65-F5344CB8AC3E}">
        <p14:creationId xmlns:p14="http://schemas.microsoft.com/office/powerpoint/2010/main" val="34153085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760"/>
            <a:ext cx="9144000" cy="2387203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1641"/>
            <a:ext cx="9144000" cy="1656159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s-ES"/>
              <a:t>Haga clic para editar el estilo de subtítul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457F7D6-48BC-48E9-AEAC-6B8D4E7B18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E2B07DC-09F8-4F60-B7B2-87839107D7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C5DC789-827F-4127-8101-42EDF6F6F3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9886D3-C281-4172-BF80-D4CA950D53BD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716747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4FDAFFA-6DEB-4028-A2B8-24F05CC8D6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BE603BE0-B53D-44E2-8344-82E5EC64FC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6A3C4F0-A25C-4B0D-8B3E-0068DB5102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03D263-8A1D-4CA2-B692-BCC0BB0AA7EA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075732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950" y="1709737"/>
            <a:ext cx="10516195" cy="2852738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950" y="4589860"/>
            <a:ext cx="10516195" cy="1500188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7F8053B-2087-47B1-B06E-1E1FB562B7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1272538-3C21-4FAF-AA9F-F43F0047F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D6BC14C-ABF1-434B-96B0-1C63EF5258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2C3338-D4F6-4F7D-B215-04EE70132E99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013071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7903" y="1825229"/>
            <a:ext cx="5186660" cy="4351734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67437" y="1825229"/>
            <a:ext cx="5186661" cy="4351734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3">
            <a:extLst>
              <a:ext uri="{FF2B5EF4-FFF2-40B4-BE49-F238E27FC236}">
                <a16:creationId xmlns:a16="http://schemas.microsoft.com/office/drawing/2014/main" id="{12D9EAD7-F45E-408F-8681-E5B0B2C132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pie de página 4">
            <a:extLst>
              <a:ext uri="{FF2B5EF4-FFF2-40B4-BE49-F238E27FC236}">
                <a16:creationId xmlns:a16="http://schemas.microsoft.com/office/drawing/2014/main" id="{F650B683-84FB-4B05-ABF0-65D6AA6FB5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Marcador de número de diapositiva 5">
            <a:extLst>
              <a:ext uri="{FF2B5EF4-FFF2-40B4-BE49-F238E27FC236}">
                <a16:creationId xmlns:a16="http://schemas.microsoft.com/office/drawing/2014/main" id="{3E53F545-80B7-4BE3-B5F8-71F8645FFC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5E8074-BD17-4FE3-B3EF-A3B2C873DC45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597617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391" y="365523"/>
            <a:ext cx="10516195" cy="132516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391" y="1681162"/>
            <a:ext cx="5158383" cy="82391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391" y="2505075"/>
            <a:ext cx="5158383" cy="3684985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1903" y="1681162"/>
            <a:ext cx="5183683" cy="82391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1903" y="2505075"/>
            <a:ext cx="5183683" cy="3684985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3">
            <a:extLst>
              <a:ext uri="{FF2B5EF4-FFF2-40B4-BE49-F238E27FC236}">
                <a16:creationId xmlns:a16="http://schemas.microsoft.com/office/drawing/2014/main" id="{AFBEC1B2-F370-483F-951D-0C77977CB1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8" name="Marcador de pie de página 4">
            <a:extLst>
              <a:ext uri="{FF2B5EF4-FFF2-40B4-BE49-F238E27FC236}">
                <a16:creationId xmlns:a16="http://schemas.microsoft.com/office/drawing/2014/main" id="{7175CCA5-9835-4C33-937A-4727DC2F33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9" name="Marcador de número de diapositiva 5">
            <a:extLst>
              <a:ext uri="{FF2B5EF4-FFF2-40B4-BE49-F238E27FC236}">
                <a16:creationId xmlns:a16="http://schemas.microsoft.com/office/drawing/2014/main" id="{89089D3D-DB33-4410-B30C-5A60910711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63AF39-8AC9-430E-A811-0A8B79CE8D49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23206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7054"/>
            <a:ext cx="10363200" cy="1361872"/>
          </a:xfrm>
        </p:spPr>
        <p:txBody>
          <a:bodyPr anchor="t"/>
          <a:lstStyle>
            <a:lvl1pPr algn="l">
              <a:defRPr sz="4500" b="1" cap="all">
                <a:solidFill>
                  <a:srgbClr val="0872A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7727"/>
            <a:ext cx="10363200" cy="1499327"/>
          </a:xfrm>
        </p:spPr>
        <p:txBody>
          <a:bodyPr anchor="b"/>
          <a:lstStyle>
            <a:lvl1pPr marL="0" indent="0">
              <a:buNone/>
              <a:defRPr sz="2200"/>
            </a:lvl1pPr>
            <a:lvl2pPr marL="511761" indent="0">
              <a:buNone/>
              <a:defRPr sz="2000"/>
            </a:lvl2pPr>
            <a:lvl3pPr marL="1023523" indent="0">
              <a:buNone/>
              <a:defRPr sz="1800"/>
            </a:lvl3pPr>
            <a:lvl4pPr marL="1535285" indent="0">
              <a:buNone/>
              <a:defRPr sz="1600"/>
            </a:lvl4pPr>
            <a:lvl5pPr marL="2047046" indent="0">
              <a:buNone/>
              <a:defRPr sz="1600"/>
            </a:lvl5pPr>
            <a:lvl6pPr marL="2558807" indent="0">
              <a:buNone/>
              <a:defRPr sz="1600"/>
            </a:lvl6pPr>
            <a:lvl7pPr marL="3070568" indent="0">
              <a:buNone/>
              <a:defRPr sz="1600"/>
            </a:lvl7pPr>
            <a:lvl8pPr marL="3582330" indent="0">
              <a:buNone/>
              <a:defRPr sz="1600"/>
            </a:lvl8pPr>
            <a:lvl9pPr marL="4094092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0BFB2B70-0E9B-47AC-9064-D67E6A91375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+mj-lt"/>
                <a:ea typeface="Cambria" panose="02040503050406030204" pitchFamily="18" charset="0"/>
              </a:defRPr>
            </a:lvl1pPr>
          </a:lstStyle>
          <a:p>
            <a:pPr>
              <a:defRPr/>
            </a:pPr>
            <a:fld id="{DEA6FF0A-1F89-4D3D-8CD5-CF259840117C}" type="slidenum">
              <a:rPr lang="de-DE" altLang="en-US" smtClean="0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8660360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3">
            <a:extLst>
              <a:ext uri="{FF2B5EF4-FFF2-40B4-BE49-F238E27FC236}">
                <a16:creationId xmlns:a16="http://schemas.microsoft.com/office/drawing/2014/main" id="{DCEEDB86-B859-412E-BE2A-E5189EC5A9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Marcador de pie de página 4">
            <a:extLst>
              <a:ext uri="{FF2B5EF4-FFF2-40B4-BE49-F238E27FC236}">
                <a16:creationId xmlns:a16="http://schemas.microsoft.com/office/drawing/2014/main" id="{37D18520-104E-4E2C-9C86-0D3B8FB3EE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Marcador de número de diapositiva 5">
            <a:extLst>
              <a:ext uri="{FF2B5EF4-FFF2-40B4-BE49-F238E27FC236}">
                <a16:creationId xmlns:a16="http://schemas.microsoft.com/office/drawing/2014/main" id="{6D1FE5FC-384D-4476-8892-8717E537F0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6F4E82-CE46-4238-A001-2DFD8086A11F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210845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3">
            <a:extLst>
              <a:ext uri="{FF2B5EF4-FFF2-40B4-BE49-F238E27FC236}">
                <a16:creationId xmlns:a16="http://schemas.microsoft.com/office/drawing/2014/main" id="{165F2F55-E058-49FA-B938-9E6270BCF8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Marcador de pie de página 4">
            <a:extLst>
              <a:ext uri="{FF2B5EF4-FFF2-40B4-BE49-F238E27FC236}">
                <a16:creationId xmlns:a16="http://schemas.microsoft.com/office/drawing/2014/main" id="{51AF8729-526F-4D28-BAEE-90DFB8B23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Marcador de número de diapositiva 5">
            <a:extLst>
              <a:ext uri="{FF2B5EF4-FFF2-40B4-BE49-F238E27FC236}">
                <a16:creationId xmlns:a16="http://schemas.microsoft.com/office/drawing/2014/main" id="{E680F58E-3FDC-4BBC-A89B-BFBC6D05D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8A52BD-0869-4FAF-8C6A-C1890E8D6380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287344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391" y="457200"/>
            <a:ext cx="3932039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684" y="987029"/>
            <a:ext cx="6171902" cy="48744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391" y="2057400"/>
            <a:ext cx="3932039" cy="38111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3">
            <a:extLst>
              <a:ext uri="{FF2B5EF4-FFF2-40B4-BE49-F238E27FC236}">
                <a16:creationId xmlns:a16="http://schemas.microsoft.com/office/drawing/2014/main" id="{1770DCF7-24D3-473D-B6C4-93C1799096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pie de página 4">
            <a:extLst>
              <a:ext uri="{FF2B5EF4-FFF2-40B4-BE49-F238E27FC236}">
                <a16:creationId xmlns:a16="http://schemas.microsoft.com/office/drawing/2014/main" id="{91239277-246B-439B-AB15-269222C203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Marcador de número de diapositiva 5">
            <a:extLst>
              <a:ext uri="{FF2B5EF4-FFF2-40B4-BE49-F238E27FC236}">
                <a16:creationId xmlns:a16="http://schemas.microsoft.com/office/drawing/2014/main" id="{73989D12-5485-4958-B23D-C80C84E260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504525-C909-44A8-90B9-4DAFCE3870CA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6864755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391" y="457200"/>
            <a:ext cx="3932039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684" y="987029"/>
            <a:ext cx="6171902" cy="4874419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s-ES" noProof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391" y="2057400"/>
            <a:ext cx="3932039" cy="38111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3">
            <a:extLst>
              <a:ext uri="{FF2B5EF4-FFF2-40B4-BE49-F238E27FC236}">
                <a16:creationId xmlns:a16="http://schemas.microsoft.com/office/drawing/2014/main" id="{0DF99E9E-B5C3-432E-8611-562CE88B27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pie de página 4">
            <a:extLst>
              <a:ext uri="{FF2B5EF4-FFF2-40B4-BE49-F238E27FC236}">
                <a16:creationId xmlns:a16="http://schemas.microsoft.com/office/drawing/2014/main" id="{70CDEAE6-B525-40DD-8CE2-25629437BA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Marcador de número de diapositiva 5">
            <a:extLst>
              <a:ext uri="{FF2B5EF4-FFF2-40B4-BE49-F238E27FC236}">
                <a16:creationId xmlns:a16="http://schemas.microsoft.com/office/drawing/2014/main" id="{3470AB11-E85F-4C3A-A3A4-4CB1EE3ED4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0245BB-7999-4978-87B7-005998B87E67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0954138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60683FB-AA3E-4CCF-A411-974E50F116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3112845-E808-49C2-97AE-4CACC5BC6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C5104C6-AC9D-41ED-9B60-0415D84D6F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59EC39-8D80-4256-B804-EB25EE0B1F26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2872731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5794" y="365523"/>
            <a:ext cx="2628305" cy="5811440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7903" y="365523"/>
            <a:ext cx="7745016" cy="5811440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8900AFD-DA0F-4118-934D-5DBE63BCF6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4D319ED-EC95-41F1-8983-9A8A920563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E3B81D4-B2F7-49D4-99B7-CA91F642A5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DCFF37-F4B3-41E9-99C1-FC1431011330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251674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8368" y="2457292"/>
            <a:ext cx="5511800" cy="3368731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3367" y="2457292"/>
            <a:ext cx="5513917" cy="3368731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5EA3381C-8986-46A1-81E8-2285D4C2740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>
              <a:defRPr/>
            </a:pPr>
            <a:fld id="{6A7BC264-C5CA-4E99-B442-0BA9BEC6F355}" type="slidenum">
              <a:rPr lang="de-DE" altLang="en-US" smtClean="0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1487539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914"/>
            <a:ext cx="10972800" cy="1141943"/>
          </a:xfrm>
        </p:spPr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279"/>
            <a:ext cx="5386917" cy="638642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11761" indent="0">
              <a:buNone/>
              <a:defRPr sz="2200" b="1"/>
            </a:lvl2pPr>
            <a:lvl3pPr marL="1023523" indent="0">
              <a:buNone/>
              <a:defRPr sz="2000" b="1"/>
            </a:lvl3pPr>
            <a:lvl4pPr marL="1535285" indent="0">
              <a:buNone/>
              <a:defRPr sz="1800" b="1"/>
            </a:lvl4pPr>
            <a:lvl5pPr marL="2047046" indent="0">
              <a:buNone/>
              <a:defRPr sz="1800" b="1"/>
            </a:lvl5pPr>
            <a:lvl6pPr marL="2558807" indent="0">
              <a:buNone/>
              <a:defRPr sz="1800" b="1"/>
            </a:lvl6pPr>
            <a:lvl7pPr marL="3070568" indent="0">
              <a:buNone/>
              <a:defRPr sz="1800" b="1"/>
            </a:lvl7pPr>
            <a:lvl8pPr marL="3582330" indent="0">
              <a:buNone/>
              <a:defRPr sz="1800" b="1"/>
            </a:lvl8pPr>
            <a:lvl9pPr marL="4094092" indent="0">
              <a:buNone/>
              <a:defRPr sz="18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3921"/>
            <a:ext cx="5386917" cy="3952390"/>
          </a:xfrm>
        </p:spPr>
        <p:txBody>
          <a:bodyPr/>
          <a:lstStyle>
            <a:lvl1pPr>
              <a:defRPr sz="27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5279"/>
            <a:ext cx="5389033" cy="638642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11761" indent="0">
              <a:buNone/>
              <a:defRPr sz="2200" b="1"/>
            </a:lvl2pPr>
            <a:lvl3pPr marL="1023523" indent="0">
              <a:buNone/>
              <a:defRPr sz="2000" b="1"/>
            </a:lvl3pPr>
            <a:lvl4pPr marL="1535285" indent="0">
              <a:buNone/>
              <a:defRPr sz="1800" b="1"/>
            </a:lvl4pPr>
            <a:lvl5pPr marL="2047046" indent="0">
              <a:buNone/>
              <a:defRPr sz="1800" b="1"/>
            </a:lvl5pPr>
            <a:lvl6pPr marL="2558807" indent="0">
              <a:buNone/>
              <a:defRPr sz="1800" b="1"/>
            </a:lvl6pPr>
            <a:lvl7pPr marL="3070568" indent="0">
              <a:buNone/>
              <a:defRPr sz="1800" b="1"/>
            </a:lvl7pPr>
            <a:lvl8pPr marL="3582330" indent="0">
              <a:buNone/>
              <a:defRPr sz="1800" b="1"/>
            </a:lvl8pPr>
            <a:lvl9pPr marL="4094092" indent="0">
              <a:buNone/>
              <a:defRPr sz="18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3921"/>
            <a:ext cx="5389033" cy="3952390"/>
          </a:xfrm>
        </p:spPr>
        <p:txBody>
          <a:bodyPr/>
          <a:lstStyle>
            <a:lvl1pPr>
              <a:defRPr sz="27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C40A3E5-0CF9-4D4E-914B-E66FCF715B2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>
              <a:defRPr/>
            </a:pPr>
            <a:fld id="{269AA6F4-8494-4B0E-8752-E91C4F3EFD09}" type="slidenum">
              <a:rPr lang="de-DE" altLang="en-US" smtClean="0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1882610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1298A431-89D2-4A4D-8FD4-627A0448986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>
              <a:defRPr/>
            </a:pPr>
            <a:fld id="{CF073006-A854-43E1-B704-A9057C487711}" type="slidenum">
              <a:rPr lang="de-DE" altLang="en-US" smtClean="0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450241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>
            <a:extLst>
              <a:ext uri="{FF2B5EF4-FFF2-40B4-BE49-F238E27FC236}">
                <a16:creationId xmlns:a16="http://schemas.microsoft.com/office/drawing/2014/main" id="{5160CEAD-FA9F-4FE3-BE8B-C922AFE40C6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>
              <a:defRPr/>
            </a:pPr>
            <a:fld id="{D051FBBE-CD0A-4A5C-8BBB-B4B633D5AFA6}" type="slidenum">
              <a:rPr lang="de-DE" altLang="en-US" smtClean="0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9434875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2799"/>
            <a:ext cx="4011084" cy="1163090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5" y="272800"/>
            <a:ext cx="6815667" cy="5853513"/>
          </a:xfrm>
        </p:spPr>
        <p:txBody>
          <a:bodyPr/>
          <a:lstStyle>
            <a:lvl1pPr>
              <a:defRPr sz="3500"/>
            </a:lvl1pPr>
            <a:lvl2pPr>
              <a:defRPr sz="3200"/>
            </a:lvl2pPr>
            <a:lvl3pPr>
              <a:defRPr sz="27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888"/>
            <a:ext cx="4011084" cy="4690424"/>
          </a:xfrm>
        </p:spPr>
        <p:txBody>
          <a:bodyPr/>
          <a:lstStyle>
            <a:lvl1pPr marL="0" indent="0">
              <a:buNone/>
              <a:defRPr sz="1600"/>
            </a:lvl1pPr>
            <a:lvl2pPr marL="511761" indent="0">
              <a:buNone/>
              <a:defRPr sz="1300"/>
            </a:lvl2pPr>
            <a:lvl3pPr marL="1023523" indent="0">
              <a:buNone/>
              <a:defRPr sz="1100"/>
            </a:lvl3pPr>
            <a:lvl4pPr marL="1535285" indent="0">
              <a:buNone/>
              <a:defRPr sz="1000"/>
            </a:lvl4pPr>
            <a:lvl5pPr marL="2047046" indent="0">
              <a:buNone/>
              <a:defRPr sz="1000"/>
            </a:lvl5pPr>
            <a:lvl6pPr marL="2558807" indent="0">
              <a:buNone/>
              <a:defRPr sz="1000"/>
            </a:lvl6pPr>
            <a:lvl7pPr marL="3070568" indent="0">
              <a:buNone/>
              <a:defRPr sz="1000"/>
            </a:lvl7pPr>
            <a:lvl8pPr marL="3582330" indent="0">
              <a:buNone/>
              <a:defRPr sz="1000"/>
            </a:lvl8pPr>
            <a:lvl9pPr marL="4094092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F944E979-4766-4CF9-B219-A345911FCAA4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>
              <a:defRPr/>
            </a:pPr>
            <a:fld id="{5F77947A-2E80-430B-A33F-DA224A649DD4}" type="slidenum">
              <a:rPr lang="de-DE" altLang="en-US" smtClean="0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9281303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388"/>
            <a:ext cx="7315200" cy="566742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3267"/>
            <a:ext cx="7315200" cy="4115222"/>
          </a:xfrm>
        </p:spPr>
        <p:txBody>
          <a:bodyPr/>
          <a:lstStyle>
            <a:lvl1pPr marL="0" indent="0">
              <a:buNone/>
              <a:defRPr sz="3500"/>
            </a:lvl1pPr>
            <a:lvl2pPr marL="511761" indent="0">
              <a:buNone/>
              <a:defRPr sz="3200"/>
            </a:lvl2pPr>
            <a:lvl3pPr marL="1023523" indent="0">
              <a:buNone/>
              <a:defRPr sz="2700"/>
            </a:lvl3pPr>
            <a:lvl4pPr marL="1535285" indent="0">
              <a:buNone/>
              <a:defRPr sz="2200"/>
            </a:lvl4pPr>
            <a:lvl5pPr marL="2047046" indent="0">
              <a:buNone/>
              <a:defRPr sz="2200"/>
            </a:lvl5pPr>
            <a:lvl6pPr marL="2558807" indent="0">
              <a:buNone/>
              <a:defRPr sz="2200"/>
            </a:lvl6pPr>
            <a:lvl7pPr marL="3070568" indent="0">
              <a:buNone/>
              <a:defRPr sz="2200"/>
            </a:lvl7pPr>
            <a:lvl8pPr marL="3582330" indent="0">
              <a:buNone/>
              <a:defRPr sz="2200"/>
            </a:lvl8pPr>
            <a:lvl9pPr marL="4094092" indent="0">
              <a:buNone/>
              <a:defRPr sz="22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131"/>
            <a:ext cx="7315200" cy="805705"/>
          </a:xfrm>
        </p:spPr>
        <p:txBody>
          <a:bodyPr/>
          <a:lstStyle>
            <a:lvl1pPr marL="0" indent="0">
              <a:buNone/>
              <a:defRPr sz="1600"/>
            </a:lvl1pPr>
            <a:lvl2pPr marL="511761" indent="0">
              <a:buNone/>
              <a:defRPr sz="1300"/>
            </a:lvl2pPr>
            <a:lvl3pPr marL="1023523" indent="0">
              <a:buNone/>
              <a:defRPr sz="1100"/>
            </a:lvl3pPr>
            <a:lvl4pPr marL="1535285" indent="0">
              <a:buNone/>
              <a:defRPr sz="1000"/>
            </a:lvl4pPr>
            <a:lvl5pPr marL="2047046" indent="0">
              <a:buNone/>
              <a:defRPr sz="1000"/>
            </a:lvl5pPr>
            <a:lvl6pPr marL="2558807" indent="0">
              <a:buNone/>
              <a:defRPr sz="1000"/>
            </a:lvl6pPr>
            <a:lvl7pPr marL="3070568" indent="0">
              <a:buNone/>
              <a:defRPr sz="1000"/>
            </a:lvl7pPr>
            <a:lvl8pPr marL="3582330" indent="0">
              <a:buNone/>
              <a:defRPr sz="1000"/>
            </a:lvl8pPr>
            <a:lvl9pPr marL="4094092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4CF455C1-D672-42B5-8D9F-145D8C66810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>
              <a:defRPr/>
            </a:pPr>
            <a:fld id="{954630F6-2450-4F47-A575-B9BB4818A14E}" type="slidenum">
              <a:rPr lang="de-DE" altLang="en-US" smtClean="0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4017503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EA7498A-D4F8-44D2-AC3B-F974C8C061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130690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EA7498A-D4F8-44D2-AC3B-F974C8C061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>
            <a:extLst>
              <a:ext uri="{FF2B5EF4-FFF2-40B4-BE49-F238E27FC236}">
                <a16:creationId xmlns:a16="http://schemas.microsoft.com/office/drawing/2014/main" id="{153779E6-8349-4D35-9401-0E17E98559F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77838" y="1125538"/>
            <a:ext cx="11229975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itelmasterformat durch Klicken bearbeiten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5D6049F0-8986-4A88-A876-9DA1E1020AE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77838" y="2276475"/>
            <a:ext cx="11229975" cy="336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extmasterformate durch Klicken bearbeiten</a:t>
            </a:r>
          </a:p>
          <a:p>
            <a:pPr lvl="1"/>
            <a:r>
              <a:rPr lang="de-DE" altLang="en-US"/>
              <a:t>Zweite Ebene</a:t>
            </a:r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ADF7537C-76DA-42F7-92EE-AA9368BE072B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748963" y="6403975"/>
            <a:ext cx="958850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solidFill>
                  <a:srgbClr val="646464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BF06C719-655F-44FD-9107-7650D1B66D5E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3298015-43DE-4F18-A125-81D432EA7764}"/>
              </a:ext>
            </a:extLst>
          </p:cNvPr>
          <p:cNvSpPr/>
          <p:nvPr userDrawn="1"/>
        </p:nvSpPr>
        <p:spPr>
          <a:xfrm>
            <a:off x="477838" y="947738"/>
            <a:ext cx="11229975" cy="33337"/>
          </a:xfrm>
          <a:prstGeom prst="rect">
            <a:avLst/>
          </a:prstGeom>
          <a:solidFill>
            <a:srgbClr val="0872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l-GR"/>
          </a:p>
        </p:txBody>
      </p:sp>
      <p:pic>
        <p:nvPicPr>
          <p:cNvPr id="2" name="Picture 7">
            <a:extLst>
              <a:ext uri="{FF2B5EF4-FFF2-40B4-BE49-F238E27FC236}">
                <a16:creationId xmlns:a16="http://schemas.microsoft.com/office/drawing/2014/main" id="{11E20278-B888-4A2C-A63A-494D896134F2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4388" y="312738"/>
            <a:ext cx="1987550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6550" r:id="rId1"/>
    <p:sldLayoutId id="2147486496" r:id="rId2"/>
    <p:sldLayoutId id="2147486497" r:id="rId3"/>
    <p:sldLayoutId id="2147486498" r:id="rId4"/>
    <p:sldLayoutId id="2147486499" r:id="rId5"/>
    <p:sldLayoutId id="2147486500" r:id="rId6"/>
    <p:sldLayoutId id="2147486501" r:id="rId7"/>
    <p:sldLayoutId id="2147486502" r:id="rId8"/>
    <p:sldLayoutId id="2147486503" r:id="rId9"/>
    <p:sldLayoutId id="2147486504" r:id="rId10"/>
    <p:sldLayoutId id="2147486505" r:id="rId11"/>
    <p:sldLayoutId id="2147486506" r:id="rId12"/>
    <p:sldLayoutId id="2147486551" r:id="rId13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pitchFamily="34" charset="0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charset="0"/>
          <a:ea typeface="MS PGothic" panose="020B0600070205080204" pitchFamily="34" charset="-128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charset="0"/>
          <a:ea typeface="MS PGothic" panose="020B0600070205080204" pitchFamily="34" charset="-128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charset="0"/>
          <a:ea typeface="MS PGothic" panose="020B0600070205080204" pitchFamily="34" charset="-128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charset="0"/>
          <a:ea typeface="MS PGothic" panose="020B0600070205080204" pitchFamily="34" charset="-128"/>
          <a:cs typeface="Arial" charset="0"/>
        </a:defRPr>
      </a:lvl5pPr>
      <a:lvl6pPr marL="511761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6pPr>
      <a:lvl7pPr marL="1023523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7pPr>
      <a:lvl8pPr marL="1535285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8pPr>
      <a:lvl9pPr marL="2047046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9pPr>
    </p:titleStyle>
    <p:bodyStyle>
      <a:lvl1pPr marL="382588" indent="-382588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830263" indent="-319088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2pPr>
      <a:lvl3pPr marL="1277938" indent="-255588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•"/>
        <a:defRPr sz="27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3pPr>
      <a:lvl4pPr marL="1790700" indent="-255588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4pPr>
      <a:lvl5pPr marL="2301875" indent="-255588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5pPr>
      <a:lvl6pPr marL="2814688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3326450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838210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4349972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761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523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285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046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8807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0568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2330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4092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ED3FFE8-28AE-4E19-BFDF-B5F8F196B7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61734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ED3FFE8-28AE-4E19-BFDF-B5F8F196B7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1">
            <a:extLst>
              <a:ext uri="{FF2B5EF4-FFF2-40B4-BE49-F238E27FC236}">
                <a16:creationId xmlns:a16="http://schemas.microsoft.com/office/drawing/2014/main" id="{42FFE7E2-4676-41E7-98C9-A3311B21D86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l-GR" altLang="en-US"/>
          </a:p>
        </p:txBody>
      </p:sp>
      <p:sp>
        <p:nvSpPr>
          <p:cNvPr id="2051" name="Text Placeholder 2">
            <a:extLst>
              <a:ext uri="{FF2B5EF4-FFF2-40B4-BE49-F238E27FC236}">
                <a16:creationId xmlns:a16="http://schemas.microsoft.com/office/drawing/2014/main" id="{34ABBB17-ECC5-4D12-B461-94C56415BF1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600200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l-GR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F7D1A0-16F9-4D0F-9328-2146B13530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5FC14259-83D6-40F8-8A84-B8C5BFFBECE3}" type="datetimeFigureOut">
              <a:rPr lang="el-GR"/>
              <a:pPr>
                <a:defRPr/>
              </a:pPr>
              <a:t>13/1/2022</a:t>
            </a:fld>
            <a:endParaRPr lang="el-G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EBBE43-98F8-4C4D-A014-3DF2F3B3BD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754475-D784-4A59-B53C-8F9CF4F6F1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1BCDA654-012A-4136-81A5-A0BC74FBC10E}" type="slidenum">
              <a:rPr lang="el-GR" altLang="en-US"/>
              <a:pPr>
                <a:defRPr/>
              </a:pPr>
              <a:t>‹#›</a:t>
            </a:fld>
            <a:endParaRPr lang="el-G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507" r:id="rId1"/>
    <p:sldLayoutId id="2147486508" r:id="rId2"/>
    <p:sldLayoutId id="2147486509" r:id="rId3"/>
    <p:sldLayoutId id="2147486510" r:id="rId4"/>
    <p:sldLayoutId id="2147486511" r:id="rId5"/>
    <p:sldLayoutId id="2147486512" r:id="rId6"/>
    <p:sldLayoutId id="2147486513" r:id="rId7"/>
    <p:sldLayoutId id="2147486514" r:id="rId8"/>
    <p:sldLayoutId id="2147486515" r:id="rId9"/>
    <p:sldLayoutId id="2147486516" r:id="rId10"/>
    <p:sldLayoutId id="214748651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anose="020B0502020202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anose="020B0502020202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anose="020B0502020202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anose="020B050202020202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4E1550-3B29-4B43-9F7E-2A73B18F1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250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4E1550-3B29-4B43-9F7E-2A73B18F1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Marcador de título 1">
            <a:extLst>
              <a:ext uri="{FF2B5EF4-FFF2-40B4-BE49-F238E27FC236}">
                <a16:creationId xmlns:a16="http://schemas.microsoft.com/office/drawing/2014/main" id="{61D920E7-8B93-46E8-ADDA-BC58AE66460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n-US"/>
              <a:t>Haga clic para modificar el estilo de título del patrón</a:t>
            </a:r>
          </a:p>
        </p:txBody>
      </p:sp>
      <p:sp>
        <p:nvSpPr>
          <p:cNvPr id="3075" name="Marcador de texto 2">
            <a:extLst>
              <a:ext uri="{FF2B5EF4-FFF2-40B4-BE49-F238E27FC236}">
                <a16:creationId xmlns:a16="http://schemas.microsoft.com/office/drawing/2014/main" id="{021DC7C7-D9FB-416D-84B4-6901AAC299F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n-US"/>
              <a:t>Editar el estilo de texto del patrón</a:t>
            </a:r>
          </a:p>
          <a:p>
            <a:pPr lvl="1"/>
            <a:r>
              <a:rPr lang="es-ES" altLang="en-US"/>
              <a:t>Segundo nivel</a:t>
            </a:r>
          </a:p>
          <a:p>
            <a:pPr lvl="2"/>
            <a:r>
              <a:rPr lang="es-ES" altLang="en-US"/>
              <a:t>Tercer nivel</a:t>
            </a:r>
          </a:p>
          <a:p>
            <a:pPr lvl="3"/>
            <a:r>
              <a:rPr lang="es-ES" altLang="en-US"/>
              <a:t>Cuarto nivel</a:t>
            </a:r>
          </a:p>
          <a:p>
            <a:pPr lvl="4"/>
            <a:r>
              <a:rPr lang="es-ES" altLang="en-U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65D0850-98DD-4EB8-9954-233A6C513F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839B10F-12AE-4895-909E-8B13E34F8B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68FAE95-4812-437A-86C1-BFCDA70605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E1CD1F7-E616-4D76-8AA2-51CE32711E98}" type="slidenum">
              <a:rPr lang="es-ES"/>
              <a:pPr>
                <a:defRPr/>
              </a:pPr>
              <a:t>‹#›</a:t>
            </a:fld>
            <a:endParaRPr lang="es-ES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192FF976-A860-4C5C-9389-F51A79593574}"/>
              </a:ext>
            </a:extLst>
          </p:cNvPr>
          <p:cNvSpPr>
            <a:spLocks/>
          </p:cNvSpPr>
          <p:nvPr userDrawn="1"/>
        </p:nvSpPr>
        <p:spPr bwMode="auto">
          <a:xfrm flipV="1">
            <a:off x="0" y="728663"/>
            <a:ext cx="12192000" cy="53975"/>
          </a:xfrm>
          <a:prstGeom prst="rect">
            <a:avLst/>
          </a:prstGeom>
          <a:solidFill>
            <a:srgbClr val="E4A33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endParaRPr lang="es-ES_tradnl" altLang="es-ES" sz="1350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498E69B4-0C8D-467C-8A88-D3FB9CBF11DD}"/>
              </a:ext>
            </a:extLst>
          </p:cNvPr>
          <p:cNvSpPr>
            <a:spLocks/>
          </p:cNvSpPr>
          <p:nvPr userDrawn="1"/>
        </p:nvSpPr>
        <p:spPr bwMode="auto">
          <a:xfrm>
            <a:off x="1588" y="809625"/>
            <a:ext cx="12190412" cy="53975"/>
          </a:xfrm>
          <a:prstGeom prst="rect">
            <a:avLst/>
          </a:prstGeom>
          <a:solidFill>
            <a:srgbClr val="35798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endParaRPr lang="es-ES_tradnl" altLang="es-ES" sz="1350"/>
          </a:p>
        </p:txBody>
      </p:sp>
      <p:pic>
        <p:nvPicPr>
          <p:cNvPr id="3081" name="Picture 2" descr="L:\DatosDepartamento\Logo Ministerio Transición Ecológica\IDAE\Media\Horizontal color con Ministerio v2.jpg">
            <a:extLst>
              <a:ext uri="{FF2B5EF4-FFF2-40B4-BE49-F238E27FC236}">
                <a16:creationId xmlns:a16="http://schemas.microsoft.com/office/drawing/2014/main" id="{9D08BA22-67D8-43E1-80D0-75C1D287507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75" y="80963"/>
            <a:ext cx="4191000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6518" r:id="rId1"/>
    <p:sldLayoutId id="2147486519" r:id="rId2"/>
    <p:sldLayoutId id="2147486520" r:id="rId3"/>
    <p:sldLayoutId id="2147486521" r:id="rId4"/>
    <p:sldLayoutId id="2147486522" r:id="rId5"/>
    <p:sldLayoutId id="2147486523" r:id="rId6"/>
    <p:sldLayoutId id="2147486524" r:id="rId7"/>
    <p:sldLayoutId id="2147486525" r:id="rId8"/>
    <p:sldLayoutId id="2147486526" r:id="rId9"/>
    <p:sldLayoutId id="2147486527" r:id="rId10"/>
    <p:sldLayoutId id="2147486528" r:id="rId11"/>
  </p:sldLayoutIdLst>
  <p:hf hdr="0" ftr="0" dt="0"/>
  <p:txStyles>
    <p:titleStyle>
      <a:lvl1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4572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defTabSz="685800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0.png"/><Relationship Id="rId18" Type="http://schemas.openxmlformats.org/officeDocument/2006/relationships/image" Target="../media/image45.png"/><Relationship Id="rId26" Type="http://schemas.openxmlformats.org/officeDocument/2006/relationships/image" Target="../media/image53.png"/><Relationship Id="rId21" Type="http://schemas.openxmlformats.org/officeDocument/2006/relationships/image" Target="../media/image48.svg"/><Relationship Id="rId34" Type="http://schemas.openxmlformats.org/officeDocument/2006/relationships/image" Target="../media/image60.png"/><Relationship Id="rId7" Type="http://schemas.openxmlformats.org/officeDocument/2006/relationships/image" Target="../media/image16.svg"/><Relationship Id="rId12" Type="http://schemas.openxmlformats.org/officeDocument/2006/relationships/image" Target="../media/image39.svg"/><Relationship Id="rId17" Type="http://schemas.openxmlformats.org/officeDocument/2006/relationships/image" Target="../media/image44.png"/><Relationship Id="rId25" Type="http://schemas.openxmlformats.org/officeDocument/2006/relationships/image" Target="../media/image52.svg"/><Relationship Id="rId33" Type="http://schemas.openxmlformats.org/officeDocument/2006/relationships/image" Target="../media/image59.svg"/><Relationship Id="rId2" Type="http://schemas.openxmlformats.org/officeDocument/2006/relationships/tags" Target="../tags/tag12.xml"/><Relationship Id="rId16" Type="http://schemas.openxmlformats.org/officeDocument/2006/relationships/image" Target="../media/image43.svg"/><Relationship Id="rId20" Type="http://schemas.openxmlformats.org/officeDocument/2006/relationships/image" Target="../media/image47.png"/><Relationship Id="rId29" Type="http://schemas.microsoft.com/office/2007/relationships/hdphoto" Target="../media/hdphoto1.wdp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png"/><Relationship Id="rId11" Type="http://schemas.openxmlformats.org/officeDocument/2006/relationships/image" Target="../media/image38.png"/><Relationship Id="rId24" Type="http://schemas.openxmlformats.org/officeDocument/2006/relationships/image" Target="../media/image51.png"/><Relationship Id="rId32" Type="http://schemas.openxmlformats.org/officeDocument/2006/relationships/image" Target="../media/image58.png"/><Relationship Id="rId37" Type="http://schemas.openxmlformats.org/officeDocument/2006/relationships/image" Target="../media/image63.svg"/><Relationship Id="rId5" Type="http://schemas.openxmlformats.org/officeDocument/2006/relationships/image" Target="../media/image2.emf"/><Relationship Id="rId15" Type="http://schemas.openxmlformats.org/officeDocument/2006/relationships/image" Target="../media/image42.png"/><Relationship Id="rId23" Type="http://schemas.openxmlformats.org/officeDocument/2006/relationships/image" Target="../media/image50.svg"/><Relationship Id="rId28" Type="http://schemas.openxmlformats.org/officeDocument/2006/relationships/image" Target="../media/image55.png"/><Relationship Id="rId36" Type="http://schemas.openxmlformats.org/officeDocument/2006/relationships/image" Target="../media/image62.png"/><Relationship Id="rId10" Type="http://schemas.openxmlformats.org/officeDocument/2006/relationships/image" Target="../media/image37.png"/><Relationship Id="rId19" Type="http://schemas.openxmlformats.org/officeDocument/2006/relationships/image" Target="../media/image46.svg"/><Relationship Id="rId31" Type="http://schemas.openxmlformats.org/officeDocument/2006/relationships/image" Target="../media/image57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36.svg"/><Relationship Id="rId14" Type="http://schemas.openxmlformats.org/officeDocument/2006/relationships/image" Target="../media/image41.svg"/><Relationship Id="rId22" Type="http://schemas.openxmlformats.org/officeDocument/2006/relationships/image" Target="../media/image49.png"/><Relationship Id="rId27" Type="http://schemas.openxmlformats.org/officeDocument/2006/relationships/image" Target="../media/image54.png"/><Relationship Id="rId30" Type="http://schemas.openxmlformats.org/officeDocument/2006/relationships/image" Target="../media/image56.png"/><Relationship Id="rId35" Type="http://schemas.openxmlformats.org/officeDocument/2006/relationships/image" Target="../media/image61.svg"/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image" Target="../media/image66.png"/><Relationship Id="rId7" Type="http://schemas.openxmlformats.org/officeDocument/2006/relationships/image" Target="../media/image7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10" Type="http://schemas.openxmlformats.org/officeDocument/2006/relationships/image" Target="../media/image73.png"/><Relationship Id="rId4" Type="http://schemas.openxmlformats.org/officeDocument/2006/relationships/image" Target="../media/image67.png"/><Relationship Id="rId9" Type="http://schemas.openxmlformats.org/officeDocument/2006/relationships/image" Target="../media/image7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18" Type="http://schemas.openxmlformats.org/officeDocument/2006/relationships/image" Target="../media/image20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" Type="http://schemas.openxmlformats.org/officeDocument/2006/relationships/tags" Target="../tags/tag5.xml"/><Relationship Id="rId16" Type="http://schemas.openxmlformats.org/officeDocument/2006/relationships/image" Target="../media/image18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2.emf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1.png"/><Relationship Id="rId14" Type="http://schemas.openxmlformats.org/officeDocument/2006/relationships/image" Target="../media/image16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2.xml"/><Relationship Id="rId7" Type="http://schemas.openxmlformats.org/officeDocument/2006/relationships/diagramData" Target="../diagrams/data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4.bin"/><Relationship Id="rId10" Type="http://schemas.openxmlformats.org/officeDocument/2006/relationships/diagramColors" Target="../diagrams/colors1.xml"/><Relationship Id="rId4" Type="http://schemas.openxmlformats.org/officeDocument/2006/relationships/image" Target="../media/image23.jpg"/><Relationship Id="rId9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slideLayout" Target="../slideLayouts/slideLayout2.xml"/><Relationship Id="rId7" Type="http://schemas.openxmlformats.org/officeDocument/2006/relationships/diagramQuickStyle" Target="../diagrams/quickStyle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diagramLayout" Target="../diagrams/layout2.xml"/><Relationship Id="rId11" Type="http://schemas.openxmlformats.org/officeDocument/2006/relationships/image" Target="../media/image2.emf"/><Relationship Id="rId5" Type="http://schemas.openxmlformats.org/officeDocument/2006/relationships/diagramData" Target="../diagrams/data2.xml"/><Relationship Id="rId10" Type="http://schemas.openxmlformats.org/officeDocument/2006/relationships/oleObject" Target="../embeddings/oleObject4.bin"/><Relationship Id="rId4" Type="http://schemas.openxmlformats.org/officeDocument/2006/relationships/image" Target="../media/image28.jpg"/><Relationship Id="rId9" Type="http://schemas.microsoft.com/office/2007/relationships/diagramDrawing" Target="../diagrams/drawing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slideLayout" Target="../slideLayouts/slideLayout2.xml"/><Relationship Id="rId7" Type="http://schemas.openxmlformats.org/officeDocument/2006/relationships/diagramQuickStyle" Target="../diagrams/quickStyle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diagramLayout" Target="../diagrams/layout3.xml"/><Relationship Id="rId11" Type="http://schemas.openxmlformats.org/officeDocument/2006/relationships/image" Target="../media/image2.emf"/><Relationship Id="rId5" Type="http://schemas.openxmlformats.org/officeDocument/2006/relationships/diagramData" Target="../diagrams/data3.xml"/><Relationship Id="rId10" Type="http://schemas.openxmlformats.org/officeDocument/2006/relationships/oleObject" Target="../embeddings/oleObject4.bin"/><Relationship Id="rId4" Type="http://schemas.openxmlformats.org/officeDocument/2006/relationships/image" Target="../media/image29.jpg"/><Relationship Id="rId9" Type="http://schemas.microsoft.com/office/2007/relationships/diagramDrawing" Target="../diagrams/drawing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jpeg"/><Relationship Id="rId4" Type="http://schemas.openxmlformats.org/officeDocument/2006/relationships/image" Target="../media/image32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ject 3">
            <a:extLst>
              <a:ext uri="{FF2B5EF4-FFF2-40B4-BE49-F238E27FC236}">
                <a16:creationId xmlns:a16="http://schemas.microsoft.com/office/drawing/2014/main" id="{226A4A62-E9E5-4133-B158-118DAAE67B43}"/>
              </a:ext>
            </a:extLst>
          </p:cNvPr>
          <p:cNvSpPr/>
          <p:nvPr/>
        </p:nvSpPr>
        <p:spPr>
          <a:xfrm>
            <a:off x="-1" y="0"/>
            <a:ext cx="11940281" cy="68579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GB" dirty="0">
              <a:latin typeface="+mn-lt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3795E5C-41F8-4859-8627-6A21B3D7F106}"/>
              </a:ext>
            </a:extLst>
          </p:cNvPr>
          <p:cNvSpPr txBox="1">
            <a:spLocks/>
          </p:cNvSpPr>
          <p:nvPr/>
        </p:nvSpPr>
        <p:spPr bwMode="auto">
          <a:xfrm>
            <a:off x="0" y="6184900"/>
            <a:ext cx="12192000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defRPr/>
            </a:pPr>
            <a:r>
              <a:rPr lang="en-GB" altLang="en-US" sz="1800">
                <a:solidFill>
                  <a:srgbClr val="0872A6"/>
                </a:solidFill>
                <a:latin typeface="+mn-lt"/>
              </a:rPr>
              <a:t>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B418EBA-6B2B-4D76-97BE-A624A1B77614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4311" y="304321"/>
            <a:ext cx="3035969" cy="769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C65F704-FDFE-4CD2-AF42-7B05CDE7E713}"/>
              </a:ext>
            </a:extLst>
          </p:cNvPr>
          <p:cNvSpPr/>
          <p:nvPr/>
        </p:nvSpPr>
        <p:spPr>
          <a:xfrm>
            <a:off x="2438398" y="3460424"/>
            <a:ext cx="2438400" cy="134447"/>
          </a:xfrm>
          <a:prstGeom prst="rect">
            <a:avLst/>
          </a:prstGeom>
          <a:solidFill>
            <a:srgbClr val="7979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6AC21E4-DC93-4ECD-8752-5689DDCB957B}"/>
              </a:ext>
            </a:extLst>
          </p:cNvPr>
          <p:cNvSpPr/>
          <p:nvPr/>
        </p:nvSpPr>
        <p:spPr>
          <a:xfrm>
            <a:off x="4876798" y="3460424"/>
            <a:ext cx="2438400" cy="134447"/>
          </a:xfrm>
          <a:prstGeom prst="rect">
            <a:avLst/>
          </a:prstGeom>
          <a:solidFill>
            <a:srgbClr val="91CE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296EB94-19EE-4121-827D-549FACEFA2CD}"/>
              </a:ext>
            </a:extLst>
          </p:cNvPr>
          <p:cNvSpPr/>
          <p:nvPr/>
        </p:nvSpPr>
        <p:spPr>
          <a:xfrm>
            <a:off x="9753598" y="3460424"/>
            <a:ext cx="2438400" cy="134447"/>
          </a:xfrm>
          <a:prstGeom prst="rect">
            <a:avLst/>
          </a:prstGeom>
          <a:solidFill>
            <a:srgbClr val="5AC7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FBCA5D-64D5-413D-A47E-5F381132BB2F}"/>
              </a:ext>
            </a:extLst>
          </p:cNvPr>
          <p:cNvSpPr/>
          <p:nvPr/>
        </p:nvSpPr>
        <p:spPr>
          <a:xfrm>
            <a:off x="7315198" y="3460424"/>
            <a:ext cx="2438400" cy="134447"/>
          </a:xfrm>
          <a:prstGeom prst="rect">
            <a:avLst/>
          </a:prstGeom>
          <a:solidFill>
            <a:srgbClr val="F9C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682D8F3-8946-4788-9148-5ACD48EB1B38}"/>
              </a:ext>
            </a:extLst>
          </p:cNvPr>
          <p:cNvSpPr/>
          <p:nvPr/>
        </p:nvSpPr>
        <p:spPr>
          <a:xfrm>
            <a:off x="-2" y="3461915"/>
            <a:ext cx="2438400" cy="129307"/>
          </a:xfrm>
          <a:prstGeom prst="rect">
            <a:avLst/>
          </a:prstGeom>
          <a:solidFill>
            <a:srgbClr val="0073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3D0F96B-0ADC-4DBA-9B55-09F68DB378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574799"/>
            <a:ext cx="12192000" cy="1891339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C100D441-AE2C-4FEF-B504-023ABFC5DBC8}"/>
              </a:ext>
            </a:extLst>
          </p:cNvPr>
          <p:cNvSpPr txBox="1">
            <a:spLocks/>
          </p:cNvSpPr>
          <p:nvPr/>
        </p:nvSpPr>
        <p:spPr bwMode="auto">
          <a:xfrm>
            <a:off x="49864" y="3822526"/>
            <a:ext cx="12059009" cy="1021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pitchFamily="34" charset="0"/>
                <a:ea typeface="MS PGothic" panose="020B0600070205080204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charset="0"/>
                <a:ea typeface="MS PGothic" panose="020B0600070205080204" pitchFamily="34" charset="-128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charset="0"/>
                <a:ea typeface="MS PGothic" panose="020B0600070205080204" pitchFamily="34" charset="-128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charset="0"/>
                <a:ea typeface="MS PGothic" panose="020B0600070205080204" pitchFamily="34" charset="-128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charset="0"/>
                <a:ea typeface="MS PGothic" panose="020B0600070205080204" pitchFamily="34" charset="-128"/>
                <a:cs typeface="Arial" charset="0"/>
              </a:defRPr>
            </a:lvl5pPr>
            <a:lvl6pPr marL="511761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6pPr>
            <a:lvl7pPr marL="1023523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7pPr>
            <a:lvl8pPr marL="1535285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8pPr>
            <a:lvl9pPr marL="2047046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3200" dirty="0">
                <a:solidFill>
                  <a:srgbClr val="002060"/>
                </a:solidFill>
                <a:latin typeface="+mn-lt"/>
              </a:rPr>
              <a:t>Energy from the sea: an action agenda for deploying offshore renewables worldwide</a:t>
            </a:r>
            <a:r>
              <a:rPr lang="en-GB" sz="3200" dirty="0">
                <a:solidFill>
                  <a:srgbClr val="002060"/>
                </a:solidFill>
                <a:latin typeface="+mn-lt"/>
              </a:rPr>
              <a:t> </a:t>
            </a:r>
            <a:endParaRPr lang="en-GB" sz="3200" dirty="0">
              <a:solidFill>
                <a:srgbClr val="002060"/>
              </a:solidFill>
              <a:highlight>
                <a:srgbClr val="FFFF00"/>
              </a:highlight>
              <a:latin typeface="+mn-lt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5D1ECC3C-7967-4716-A589-52DFBD3A0A7E}"/>
              </a:ext>
            </a:extLst>
          </p:cNvPr>
          <p:cNvSpPr txBox="1">
            <a:spLocks/>
          </p:cNvSpPr>
          <p:nvPr/>
        </p:nvSpPr>
        <p:spPr bwMode="auto">
          <a:xfrm>
            <a:off x="251720" y="5040937"/>
            <a:ext cx="11688558" cy="1718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Dolf Gielen</a:t>
            </a:r>
          </a:p>
          <a:p>
            <a:pPr algn="ctr"/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Director IRENA Innovation and Technology Centre</a:t>
            </a:r>
          </a:p>
          <a:p>
            <a:pPr algn="ctr"/>
            <a:endParaRPr lang="en-US" sz="180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algn="ctr"/>
            <a:endParaRPr lang="en-US" sz="180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algn="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3</a:t>
            </a:r>
            <a:r>
              <a:rPr lang="en-US" sz="14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rd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Meeting Collaborative Framework Offshore Renewables</a:t>
            </a:r>
          </a:p>
          <a:p>
            <a:pPr algn="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June 8</a:t>
            </a:r>
            <a:r>
              <a:rPr lang="en-US" sz="14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th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, 2021</a:t>
            </a:r>
            <a:endParaRPr lang="en-GB" sz="14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A599A6F-68AA-4454-8CB9-612B0D5297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A599A6F-68AA-4454-8CB9-612B0D5297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D11296D7-9D63-4D20-883D-793EA10983F1}"/>
              </a:ext>
            </a:extLst>
          </p:cNvPr>
          <p:cNvSpPr txBox="1">
            <a:spLocks/>
          </p:cNvSpPr>
          <p:nvPr/>
        </p:nvSpPr>
        <p:spPr bwMode="auto">
          <a:xfrm>
            <a:off x="437577" y="75791"/>
            <a:ext cx="9036067" cy="842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>
              <a:defRPr sz="2600" b="1">
                <a:solidFill>
                  <a:srgbClr val="002060"/>
                </a:solidFill>
                <a:latin typeface="+mn-lt"/>
                <a:cs typeface="+mj-cs"/>
              </a:defRPr>
            </a:lvl1pPr>
            <a:lvl2pPr>
              <a:defRPr sz="2700" b="1">
                <a:solidFill>
                  <a:srgbClr val="0872A6"/>
                </a:solidFill>
                <a:latin typeface="ITC Avant Garde Gothic" charset="0"/>
                <a:cs typeface="Arial" charset="0"/>
              </a:defRPr>
            </a:lvl2pPr>
            <a:lvl3pPr>
              <a:defRPr sz="2700" b="1">
                <a:solidFill>
                  <a:srgbClr val="0872A6"/>
                </a:solidFill>
                <a:latin typeface="ITC Avant Garde Gothic" charset="0"/>
                <a:cs typeface="Arial" charset="0"/>
              </a:defRPr>
            </a:lvl3pPr>
            <a:lvl4pPr>
              <a:defRPr sz="2700" b="1">
                <a:solidFill>
                  <a:srgbClr val="0872A6"/>
                </a:solidFill>
                <a:latin typeface="ITC Avant Garde Gothic" charset="0"/>
                <a:cs typeface="Arial" charset="0"/>
              </a:defRPr>
            </a:lvl4pPr>
            <a:lvl5pPr>
              <a:defRPr sz="2700" b="1">
                <a:solidFill>
                  <a:srgbClr val="0872A6"/>
                </a:solidFill>
                <a:latin typeface="ITC Avant Garde Gothic" charset="0"/>
                <a:cs typeface="Arial" charset="0"/>
              </a:defRPr>
            </a:lvl5pPr>
            <a:lvl6pPr marL="511761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6pPr>
            <a:lvl7pPr marL="1023523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7pPr>
            <a:lvl8pPr marL="1535285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8pPr>
            <a:lvl9pPr marL="2047046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GB" sz="2800" dirty="0">
                <a:solidFill>
                  <a:srgbClr val="0872A6"/>
                </a:solidFill>
                <a:latin typeface="ITC Avant Garde Gothic" pitchFamily="34" charset="0"/>
              </a:rPr>
              <a:t>Innovative trends</a:t>
            </a:r>
          </a:p>
        </p:txBody>
      </p:sp>
      <p:pic>
        <p:nvPicPr>
          <p:cNvPr id="6" name="Picture 27">
            <a:extLst>
              <a:ext uri="{FF2B5EF4-FFF2-40B4-BE49-F238E27FC236}">
                <a16:creationId xmlns:a16="http://schemas.microsoft.com/office/drawing/2014/main" id="{4F731B8D-481D-4BF4-A279-84DD8F472E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958" y="3150391"/>
            <a:ext cx="1174730" cy="117472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76EC60D-2708-4F2E-B0DD-8B3936844D66}"/>
              </a:ext>
            </a:extLst>
          </p:cNvPr>
          <p:cNvSpPr txBox="1"/>
          <p:nvPr/>
        </p:nvSpPr>
        <p:spPr>
          <a:xfrm>
            <a:off x="-27739" y="4441372"/>
            <a:ext cx="19471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Fixed offshore win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F396655-6224-47B9-B52C-6B5958686AE5}"/>
              </a:ext>
            </a:extLst>
          </p:cNvPr>
          <p:cNvSpPr txBox="1"/>
          <p:nvPr/>
        </p:nvSpPr>
        <p:spPr>
          <a:xfrm>
            <a:off x="138514" y="1399387"/>
            <a:ext cx="19471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872A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ventional</a:t>
            </a:r>
          </a:p>
        </p:txBody>
      </p:sp>
      <p:cxnSp>
        <p:nvCxnSpPr>
          <p:cNvPr id="18" name="Connector: Curved 17">
            <a:extLst>
              <a:ext uri="{FF2B5EF4-FFF2-40B4-BE49-F238E27FC236}">
                <a16:creationId xmlns:a16="http://schemas.microsoft.com/office/drawing/2014/main" id="{4520D106-D47A-4C62-A9C9-ED8068B6F400}"/>
              </a:ext>
            </a:extLst>
          </p:cNvPr>
          <p:cNvCxnSpPr>
            <a:cxnSpLocks/>
            <a:stCxn id="6" idx="3"/>
            <a:endCxn id="44" idx="1"/>
          </p:cNvCxnSpPr>
          <p:nvPr/>
        </p:nvCxnSpPr>
        <p:spPr>
          <a:xfrm flipV="1">
            <a:off x="1295688" y="2049566"/>
            <a:ext cx="1043829" cy="1688189"/>
          </a:xfrm>
          <a:prstGeom prst="curvedConnector3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Connector: Curved 18">
            <a:extLst>
              <a:ext uri="{FF2B5EF4-FFF2-40B4-BE49-F238E27FC236}">
                <a16:creationId xmlns:a16="http://schemas.microsoft.com/office/drawing/2014/main" id="{299517F2-F6D5-428B-9A29-085F0DD54579}"/>
              </a:ext>
            </a:extLst>
          </p:cNvPr>
          <p:cNvCxnSpPr>
            <a:cxnSpLocks/>
            <a:stCxn id="6" idx="3"/>
            <a:endCxn id="48" idx="1"/>
          </p:cNvCxnSpPr>
          <p:nvPr/>
        </p:nvCxnSpPr>
        <p:spPr>
          <a:xfrm flipV="1">
            <a:off x="1295688" y="3258602"/>
            <a:ext cx="1043829" cy="479153"/>
          </a:xfrm>
          <a:prstGeom prst="curvedConnector3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Connector: Curved 21">
            <a:extLst>
              <a:ext uri="{FF2B5EF4-FFF2-40B4-BE49-F238E27FC236}">
                <a16:creationId xmlns:a16="http://schemas.microsoft.com/office/drawing/2014/main" id="{BC72B597-8B66-4474-9366-50F39799D25B}"/>
              </a:ext>
            </a:extLst>
          </p:cNvPr>
          <p:cNvCxnSpPr>
            <a:cxnSpLocks/>
            <a:stCxn id="6" idx="3"/>
            <a:endCxn id="53" idx="1"/>
          </p:cNvCxnSpPr>
          <p:nvPr/>
        </p:nvCxnSpPr>
        <p:spPr>
          <a:xfrm>
            <a:off x="1295688" y="3737755"/>
            <a:ext cx="1043829" cy="519326"/>
          </a:xfrm>
          <a:prstGeom prst="curvedConnector3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Connector: Curved 24">
            <a:extLst>
              <a:ext uri="{FF2B5EF4-FFF2-40B4-BE49-F238E27FC236}">
                <a16:creationId xmlns:a16="http://schemas.microsoft.com/office/drawing/2014/main" id="{0CBC0C21-E6C0-4976-AA51-C3E4BA9F3C47}"/>
              </a:ext>
            </a:extLst>
          </p:cNvPr>
          <p:cNvCxnSpPr>
            <a:cxnSpLocks/>
            <a:stCxn id="6" idx="3"/>
            <a:endCxn id="57" idx="1"/>
          </p:cNvCxnSpPr>
          <p:nvPr/>
        </p:nvCxnSpPr>
        <p:spPr>
          <a:xfrm>
            <a:off x="1295688" y="3737755"/>
            <a:ext cx="1043829" cy="1336826"/>
          </a:xfrm>
          <a:prstGeom prst="curvedConnector3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Connector: Curved 27">
            <a:extLst>
              <a:ext uri="{FF2B5EF4-FFF2-40B4-BE49-F238E27FC236}">
                <a16:creationId xmlns:a16="http://schemas.microsoft.com/office/drawing/2014/main" id="{D90556CF-8C3B-4BE1-8E8A-74B5D5AF4FAD}"/>
              </a:ext>
            </a:extLst>
          </p:cNvPr>
          <p:cNvCxnSpPr>
            <a:cxnSpLocks/>
            <a:stCxn id="6" idx="3"/>
            <a:endCxn id="63" idx="1"/>
          </p:cNvCxnSpPr>
          <p:nvPr/>
        </p:nvCxnSpPr>
        <p:spPr>
          <a:xfrm>
            <a:off x="1295688" y="3737755"/>
            <a:ext cx="1044891" cy="2512944"/>
          </a:xfrm>
          <a:prstGeom prst="curved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911BF953-CF19-449A-8066-287229B5CC43}"/>
              </a:ext>
            </a:extLst>
          </p:cNvPr>
          <p:cNvSpPr txBox="1"/>
          <p:nvPr/>
        </p:nvSpPr>
        <p:spPr>
          <a:xfrm>
            <a:off x="2332098" y="1399387"/>
            <a:ext cx="1261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872A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end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420792D6-0712-4915-AA72-101D786AA917}"/>
              </a:ext>
            </a:extLst>
          </p:cNvPr>
          <p:cNvGrpSpPr/>
          <p:nvPr/>
        </p:nvGrpSpPr>
        <p:grpSpPr>
          <a:xfrm>
            <a:off x="2339517" y="1738660"/>
            <a:ext cx="1101030" cy="643578"/>
            <a:chOff x="5481290" y="1642967"/>
            <a:chExt cx="1299720" cy="759718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849B9573-6D8B-4B74-B4A0-0179192F037B}"/>
                </a:ext>
              </a:extLst>
            </p:cNvPr>
            <p:cNvSpPr/>
            <p:nvPr/>
          </p:nvSpPr>
          <p:spPr>
            <a:xfrm>
              <a:off x="6107577" y="2214606"/>
              <a:ext cx="660695" cy="188079"/>
            </a:xfrm>
            <a:prstGeom prst="rect">
              <a:avLst/>
            </a:prstGeom>
            <a:solidFill>
              <a:srgbClr val="8AC6DD"/>
            </a:solidFill>
            <a:ln>
              <a:solidFill>
                <a:srgbClr val="8AC6D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43" name="Graphic 42">
              <a:extLst>
                <a:ext uri="{FF2B5EF4-FFF2-40B4-BE49-F238E27FC236}">
                  <a16:creationId xmlns:a16="http://schemas.microsoft.com/office/drawing/2014/main" id="{00C68920-F250-4D08-9613-B4298C8E9CA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6842"/>
            <a:stretch/>
          </p:blipFill>
          <p:spPr>
            <a:xfrm>
              <a:off x="6096000" y="1642967"/>
              <a:ext cx="685010" cy="638143"/>
            </a:xfrm>
            <a:prstGeom prst="rect">
              <a:avLst/>
            </a:prstGeom>
          </p:spPr>
        </p:pic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id="{549BF4FA-CDF7-4E9B-B853-7B219BFEE1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481290" y="1673842"/>
              <a:ext cx="672273" cy="672273"/>
            </a:xfrm>
            <a:prstGeom prst="rect">
              <a:avLst/>
            </a:prstGeom>
          </p:spPr>
        </p:pic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4E379341-0954-477A-97BA-48C9B9A9FFE7}"/>
              </a:ext>
            </a:extLst>
          </p:cNvPr>
          <p:cNvSpPr txBox="1"/>
          <p:nvPr/>
        </p:nvSpPr>
        <p:spPr>
          <a:xfrm>
            <a:off x="2237559" y="2357183"/>
            <a:ext cx="16995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Larger turbines and deeper water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CB27AB5D-0D55-41F9-8C3F-DEBCE91DD6D6}"/>
              </a:ext>
            </a:extLst>
          </p:cNvPr>
          <p:cNvGrpSpPr/>
          <p:nvPr/>
        </p:nvGrpSpPr>
        <p:grpSpPr>
          <a:xfrm>
            <a:off x="2339517" y="2943875"/>
            <a:ext cx="1253774" cy="629454"/>
            <a:chOff x="4731625" y="5292353"/>
            <a:chExt cx="1508048" cy="757112"/>
          </a:xfrm>
        </p:grpSpPr>
        <p:pic>
          <p:nvPicPr>
            <p:cNvPr id="48" name="Graphic 47">
              <a:extLst>
                <a:ext uri="{FF2B5EF4-FFF2-40B4-BE49-F238E27FC236}">
                  <a16:creationId xmlns:a16="http://schemas.microsoft.com/office/drawing/2014/main" id="{1B6AE55A-7FB9-4B23-8DEF-78A32ECF30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31625" y="5292353"/>
              <a:ext cx="757112" cy="757112"/>
            </a:xfrm>
            <a:prstGeom prst="rect">
              <a:avLst/>
            </a:prstGeom>
          </p:spPr>
        </p:pic>
        <p:pic>
          <p:nvPicPr>
            <p:cNvPr id="49" name="Graphic 48">
              <a:extLst>
                <a:ext uri="{FF2B5EF4-FFF2-40B4-BE49-F238E27FC236}">
                  <a16:creationId xmlns:a16="http://schemas.microsoft.com/office/drawing/2014/main" id="{C2E330C0-A1B6-4C92-89C4-93C95890FB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767982" y="5469829"/>
              <a:ext cx="471691" cy="471691"/>
            </a:xfrm>
            <a:prstGeom prst="rect">
              <a:avLst/>
            </a:prstGeom>
          </p:spPr>
        </p:pic>
        <p:pic>
          <p:nvPicPr>
            <p:cNvPr id="50" name="Graphic 49">
              <a:extLst>
                <a:ext uri="{FF2B5EF4-FFF2-40B4-BE49-F238E27FC236}">
                  <a16:creationId xmlns:a16="http://schemas.microsoft.com/office/drawing/2014/main" id="{8A05AE48-FE9A-4371-952B-60CDD70CE8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 rot="2722766">
              <a:off x="5489276" y="5623709"/>
              <a:ext cx="227305" cy="227305"/>
            </a:xfrm>
            <a:prstGeom prst="rect">
              <a:avLst/>
            </a:prstGeom>
          </p:spPr>
        </p:pic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E5E9E340-D931-4656-B62E-3552C6D337D6}"/>
              </a:ext>
            </a:extLst>
          </p:cNvPr>
          <p:cNvSpPr txBox="1"/>
          <p:nvPr/>
        </p:nvSpPr>
        <p:spPr>
          <a:xfrm>
            <a:off x="2237559" y="3474504"/>
            <a:ext cx="19471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Generation of green hydrogen</a:t>
            </a:r>
          </a:p>
        </p:txBody>
      </p:sp>
      <p:pic>
        <p:nvPicPr>
          <p:cNvPr id="53" name="Graphic 52">
            <a:extLst>
              <a:ext uri="{FF2B5EF4-FFF2-40B4-BE49-F238E27FC236}">
                <a16:creationId xmlns:a16="http://schemas.microsoft.com/office/drawing/2014/main" id="{97DF0A0E-3195-4F1D-82CD-4DC878360FE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339517" y="3995197"/>
            <a:ext cx="523770" cy="523768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D94C0483-AEB9-4793-BCD7-B73F1E72BA61}"/>
              </a:ext>
            </a:extLst>
          </p:cNvPr>
          <p:cNvSpPr txBox="1"/>
          <p:nvPr/>
        </p:nvSpPr>
        <p:spPr>
          <a:xfrm>
            <a:off x="2237559" y="4489173"/>
            <a:ext cx="19471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Floating foundations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4465571A-F493-42B0-9949-2F205E16BE99}"/>
              </a:ext>
            </a:extLst>
          </p:cNvPr>
          <p:cNvGrpSpPr/>
          <p:nvPr/>
        </p:nvGrpSpPr>
        <p:grpSpPr>
          <a:xfrm>
            <a:off x="2339517" y="4690957"/>
            <a:ext cx="1384338" cy="705166"/>
            <a:chOff x="4571352" y="8890286"/>
            <a:chExt cx="1894612" cy="965094"/>
          </a:xfrm>
        </p:grpSpPr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D790EA89-56DD-4456-9E55-6B2718A3EE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8573" y="8890286"/>
              <a:ext cx="883279" cy="883279"/>
            </a:xfrm>
            <a:prstGeom prst="rect">
              <a:avLst/>
            </a:prstGeom>
          </p:spPr>
        </p:pic>
        <p:pic>
          <p:nvPicPr>
            <p:cNvPr id="56" name="Graphic 55">
              <a:extLst>
                <a:ext uri="{FF2B5EF4-FFF2-40B4-BE49-F238E27FC236}">
                  <a16:creationId xmlns:a16="http://schemas.microsoft.com/office/drawing/2014/main" id="{E4340D6C-DC8B-493F-A688-8F1A8209FB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5628402" y="9194504"/>
              <a:ext cx="457532" cy="457532"/>
            </a:xfrm>
            <a:prstGeom prst="rect">
              <a:avLst/>
            </a:prstGeom>
          </p:spPr>
        </p:pic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3FADA2A5-B404-4C93-A622-FFB0CBF46F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571352" y="8975250"/>
              <a:ext cx="813666" cy="880130"/>
            </a:xfrm>
            <a:prstGeom prst="rect">
              <a:avLst/>
            </a:prstGeom>
          </p:spPr>
        </p:pic>
        <p:cxnSp>
          <p:nvCxnSpPr>
            <p:cNvPr id="58" name="Connector: Curved 57">
              <a:extLst>
                <a:ext uri="{FF2B5EF4-FFF2-40B4-BE49-F238E27FC236}">
                  <a16:creationId xmlns:a16="http://schemas.microsoft.com/office/drawing/2014/main" id="{E1EC547F-FE29-4002-B186-D23A5C8C1D96}"/>
                </a:ext>
              </a:extLst>
            </p:cNvPr>
            <p:cNvCxnSpPr>
              <a:cxnSpLocks/>
              <a:endCxn id="56" idx="1"/>
            </p:cNvCxnSpPr>
            <p:nvPr/>
          </p:nvCxnSpPr>
          <p:spPr>
            <a:xfrm flipV="1">
              <a:off x="5156226" y="9423270"/>
              <a:ext cx="472176" cy="177551"/>
            </a:xfrm>
            <a:prstGeom prst="curved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1D857F4A-22D2-445A-9CF3-A7F1489FE8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099815" y="9227209"/>
              <a:ext cx="366149" cy="366149"/>
            </a:xfrm>
            <a:prstGeom prst="rect">
              <a:avLst/>
            </a:prstGeom>
          </p:spPr>
        </p:pic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1A7A3ED0-85D0-4E69-9075-26B37C21F3D0}"/>
              </a:ext>
            </a:extLst>
          </p:cNvPr>
          <p:cNvSpPr txBox="1"/>
          <p:nvPr/>
        </p:nvSpPr>
        <p:spPr>
          <a:xfrm>
            <a:off x="2237559" y="5376047"/>
            <a:ext cx="19471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Artificial Islands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EB94DBD0-1DFC-482C-83F8-744B803231F6}"/>
              </a:ext>
            </a:extLst>
          </p:cNvPr>
          <p:cNvGrpSpPr/>
          <p:nvPr/>
        </p:nvGrpSpPr>
        <p:grpSpPr>
          <a:xfrm>
            <a:off x="2339517" y="5712896"/>
            <a:ext cx="810376" cy="648482"/>
            <a:chOff x="4916413" y="10781721"/>
            <a:chExt cx="997443" cy="798179"/>
          </a:xfrm>
        </p:grpSpPr>
        <p:pic>
          <p:nvPicPr>
            <p:cNvPr id="62" name="Graphic 61">
              <a:extLst>
                <a:ext uri="{FF2B5EF4-FFF2-40B4-BE49-F238E27FC236}">
                  <a16:creationId xmlns:a16="http://schemas.microsoft.com/office/drawing/2014/main" id="{5F4B3626-D242-45DF-8A4C-8631495C1CF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 rot="3256469">
              <a:off x="5532952" y="10799303"/>
              <a:ext cx="380904" cy="380904"/>
            </a:xfrm>
            <a:prstGeom prst="rect">
              <a:avLst/>
            </a:prstGeom>
          </p:spPr>
        </p:pic>
        <p:pic>
          <p:nvPicPr>
            <p:cNvPr id="63" name="Graphic 62">
              <a:extLst>
                <a:ext uri="{FF2B5EF4-FFF2-40B4-BE49-F238E27FC236}">
                  <a16:creationId xmlns:a16="http://schemas.microsoft.com/office/drawing/2014/main" id="{FB4FD408-9828-4D25-9035-AFB26EB80F8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4917720" y="11307443"/>
              <a:ext cx="272457" cy="272457"/>
            </a:xfrm>
            <a:prstGeom prst="rect">
              <a:avLst/>
            </a:prstGeom>
          </p:spPr>
        </p:pic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B9052FAE-7C2A-4C84-9FF2-4A1C7B7118A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55287" y="11081908"/>
              <a:ext cx="448394" cy="23928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DB01C64A-8686-4703-8FB4-3BDF96E220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4916413" y="10781721"/>
              <a:ext cx="334358" cy="334358"/>
            </a:xfrm>
            <a:prstGeom prst="rect">
              <a:avLst/>
            </a:prstGeom>
          </p:spPr>
        </p:pic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7459901F-AF82-4DC7-9B65-8B39EF563488}"/>
              </a:ext>
            </a:extLst>
          </p:cNvPr>
          <p:cNvSpPr txBox="1"/>
          <p:nvPr/>
        </p:nvSpPr>
        <p:spPr>
          <a:xfrm>
            <a:off x="2237559" y="6347769"/>
            <a:ext cx="19471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Airborne wind energy systems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40A7DAD1-5485-4229-AE6F-6C4190F1F3DF}"/>
              </a:ext>
            </a:extLst>
          </p:cNvPr>
          <p:cNvSpPr txBox="1"/>
          <p:nvPr/>
        </p:nvSpPr>
        <p:spPr>
          <a:xfrm>
            <a:off x="1759658" y="983024"/>
            <a:ext cx="19471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872A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nology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536FF69-7E53-4B7F-90CB-1C58047B2DFD}"/>
              </a:ext>
            </a:extLst>
          </p:cNvPr>
          <p:cNvSpPr txBox="1"/>
          <p:nvPr/>
        </p:nvSpPr>
        <p:spPr>
          <a:xfrm>
            <a:off x="9043374" y="983024"/>
            <a:ext cx="19471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872A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17C626CD-2C1A-4124-8B6B-67064D856E50}"/>
              </a:ext>
            </a:extLst>
          </p:cNvPr>
          <p:cNvSpPr txBox="1"/>
          <p:nvPr/>
        </p:nvSpPr>
        <p:spPr>
          <a:xfrm>
            <a:off x="7027712" y="1399387"/>
            <a:ext cx="19471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872A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ventional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028D15A8-C1E1-4134-80A4-3DB5241156B7}"/>
              </a:ext>
            </a:extLst>
          </p:cNvPr>
          <p:cNvSpPr txBox="1"/>
          <p:nvPr/>
        </p:nvSpPr>
        <p:spPr>
          <a:xfrm>
            <a:off x="10016936" y="1399387"/>
            <a:ext cx="1035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872A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end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EE807A52-9AAB-4B9A-94F1-235B377A6447}"/>
              </a:ext>
            </a:extLst>
          </p:cNvPr>
          <p:cNvGrpSpPr/>
          <p:nvPr/>
        </p:nvGrpSpPr>
        <p:grpSpPr>
          <a:xfrm>
            <a:off x="7265064" y="3108254"/>
            <a:ext cx="1505348" cy="1414133"/>
            <a:chOff x="11208817" y="2134166"/>
            <a:chExt cx="1832358" cy="1721331"/>
          </a:xfrm>
        </p:grpSpPr>
        <p:pic>
          <p:nvPicPr>
            <p:cNvPr id="101" name="Picture 100">
              <a:extLst>
                <a:ext uri="{FF2B5EF4-FFF2-40B4-BE49-F238E27FC236}">
                  <a16:creationId xmlns:a16="http://schemas.microsoft.com/office/drawing/2014/main" id="{F48C2DCC-9151-4014-91EF-CF017BB2C2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06103" y="2134166"/>
              <a:ext cx="1116865" cy="1116864"/>
            </a:xfrm>
            <a:prstGeom prst="rect">
              <a:avLst/>
            </a:prstGeom>
          </p:spPr>
        </p:pic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E43E4452-3266-4940-86EA-0CDA108C8457}"/>
                </a:ext>
              </a:extLst>
            </p:cNvPr>
            <p:cNvSpPr txBox="1"/>
            <p:nvPr/>
          </p:nvSpPr>
          <p:spPr>
            <a:xfrm>
              <a:off x="11208817" y="3218616"/>
              <a:ext cx="1832358" cy="6368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Industrial and local consumption</a:t>
              </a: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A051FBC6-1250-401D-BC2E-070D7715C0D3}"/>
              </a:ext>
            </a:extLst>
          </p:cNvPr>
          <p:cNvGrpSpPr/>
          <p:nvPr/>
        </p:nvGrpSpPr>
        <p:grpSpPr>
          <a:xfrm>
            <a:off x="9394366" y="1771207"/>
            <a:ext cx="1442825" cy="1310640"/>
            <a:chOff x="11645740" y="3982221"/>
            <a:chExt cx="1244963" cy="900255"/>
          </a:xfrm>
        </p:grpSpPr>
        <p:pic>
          <p:nvPicPr>
            <p:cNvPr id="104" name="Picture 103">
              <a:extLst>
                <a:ext uri="{FF2B5EF4-FFF2-40B4-BE49-F238E27FC236}">
                  <a16:creationId xmlns:a16="http://schemas.microsoft.com/office/drawing/2014/main" id="{243489B8-539B-4B36-B92D-B7799A246841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72237" y="3982221"/>
              <a:ext cx="732600" cy="596302"/>
            </a:xfrm>
            <a:prstGeom prst="rect">
              <a:avLst/>
            </a:prstGeom>
          </p:spPr>
        </p:pic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3DE0C20A-A3CA-43A8-A56A-82D07F35E22C}"/>
                </a:ext>
              </a:extLst>
            </p:cNvPr>
            <p:cNvSpPr txBox="1"/>
            <p:nvPr/>
          </p:nvSpPr>
          <p:spPr>
            <a:xfrm>
              <a:off x="11645740" y="4523086"/>
              <a:ext cx="1244963" cy="3593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Islands and small</a:t>
              </a:r>
              <a:br>
                <a:rPr lang="en-US" sz="1400" dirty="0"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Island states</a:t>
              </a: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17C1B0FF-351B-40B6-A360-6B159303E420}"/>
              </a:ext>
            </a:extLst>
          </p:cNvPr>
          <p:cNvGrpSpPr/>
          <p:nvPr/>
        </p:nvGrpSpPr>
        <p:grpSpPr>
          <a:xfrm>
            <a:off x="8892321" y="3804165"/>
            <a:ext cx="3011359" cy="2847342"/>
            <a:chOff x="9011079" y="4112924"/>
            <a:chExt cx="3011359" cy="2847342"/>
          </a:xfrm>
        </p:grpSpPr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96C87D46-3322-46DE-A18B-B63917B36818}"/>
                </a:ext>
              </a:extLst>
            </p:cNvPr>
            <p:cNvGrpSpPr/>
            <p:nvPr/>
          </p:nvGrpSpPr>
          <p:grpSpPr>
            <a:xfrm>
              <a:off x="10074261" y="5879943"/>
              <a:ext cx="1133887" cy="1080323"/>
              <a:chOff x="10830328" y="2220312"/>
              <a:chExt cx="1133887" cy="1080323"/>
            </a:xfrm>
          </p:grpSpPr>
          <p:pic>
            <p:nvPicPr>
              <p:cNvPr id="107" name="Graphic 103">
                <a:extLst>
                  <a:ext uri="{FF2B5EF4-FFF2-40B4-BE49-F238E27FC236}">
                    <a16:creationId xmlns:a16="http://schemas.microsoft.com/office/drawing/2014/main" id="{B78617CE-4CA6-4E4D-AEE5-0A6AEFFFB2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8">
                <a:extLst>
                  <a:ext uri="{BEBA8EAE-BF5A-486C-A8C5-ECC9F3942E4B}">
                    <a14:imgProps xmlns:a14="http://schemas.microsoft.com/office/drawing/2010/main">
                      <a14:imgLayer r:embed="rId29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47695" y="2220312"/>
                <a:ext cx="895760" cy="895760"/>
              </a:xfrm>
              <a:prstGeom prst="rect">
                <a:avLst/>
              </a:prstGeom>
            </p:spPr>
          </p:pic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1BFE61BA-DA46-4225-A868-3FC1A8E58A7B}"/>
                  </a:ext>
                </a:extLst>
              </p:cNvPr>
              <p:cNvSpPr txBox="1"/>
              <p:nvPr/>
            </p:nvSpPr>
            <p:spPr>
              <a:xfrm>
                <a:off x="10830328" y="2992858"/>
                <a:ext cx="113388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Desalination</a:t>
                </a:r>
              </a:p>
            </p:txBody>
          </p:sp>
        </p:grp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B77303BD-75CA-4DA8-8DCC-485C23B94AE8}"/>
                </a:ext>
              </a:extLst>
            </p:cNvPr>
            <p:cNvGrpSpPr/>
            <p:nvPr/>
          </p:nvGrpSpPr>
          <p:grpSpPr>
            <a:xfrm>
              <a:off x="10888552" y="5094095"/>
              <a:ext cx="1133886" cy="932153"/>
              <a:chOff x="9957208" y="2913429"/>
              <a:chExt cx="1133886" cy="932153"/>
            </a:xfrm>
          </p:grpSpPr>
          <p:pic>
            <p:nvPicPr>
              <p:cNvPr id="110" name="Graphic 109">
                <a:extLst>
                  <a:ext uri="{FF2B5EF4-FFF2-40B4-BE49-F238E27FC236}">
                    <a16:creationId xmlns:a16="http://schemas.microsoft.com/office/drawing/2014/main" id="{A4ADE209-A461-447F-9107-31E4B385BD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1"/>
                  </a:ext>
                </a:extLst>
              </a:blip>
              <a:stretch>
                <a:fillRect/>
              </a:stretch>
            </p:blipFill>
            <p:spPr>
              <a:xfrm>
                <a:off x="10112537" y="2913429"/>
                <a:ext cx="644326" cy="644326"/>
              </a:xfrm>
              <a:prstGeom prst="rect">
                <a:avLst/>
              </a:prstGeom>
            </p:spPr>
          </p:pic>
          <p:sp>
            <p:nvSpPr>
              <p:cNvPr id="111" name="TextBox 110">
                <a:extLst>
                  <a:ext uri="{FF2B5EF4-FFF2-40B4-BE49-F238E27FC236}">
                    <a16:creationId xmlns:a16="http://schemas.microsoft.com/office/drawing/2014/main" id="{C344F20F-6A11-4EDF-AB76-A9ADC6DC55B0}"/>
                  </a:ext>
                </a:extLst>
              </p:cNvPr>
              <p:cNvSpPr txBox="1"/>
              <p:nvPr/>
            </p:nvSpPr>
            <p:spPr>
              <a:xfrm>
                <a:off x="9957208" y="3537805"/>
                <a:ext cx="113388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Aquaculture</a:t>
                </a:r>
              </a:p>
            </p:txBody>
          </p:sp>
        </p:grpSp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7B9183D0-98CB-46FA-9D73-8794FE078C15}"/>
                </a:ext>
              </a:extLst>
            </p:cNvPr>
            <p:cNvGrpSpPr/>
            <p:nvPr/>
          </p:nvGrpSpPr>
          <p:grpSpPr>
            <a:xfrm>
              <a:off x="9011079" y="5073662"/>
              <a:ext cx="855878" cy="872009"/>
              <a:chOff x="9128140" y="2617825"/>
              <a:chExt cx="855878" cy="872009"/>
            </a:xfrm>
          </p:grpSpPr>
          <p:pic>
            <p:nvPicPr>
              <p:cNvPr id="113" name="Graphic 112">
                <a:extLst>
                  <a:ext uri="{FF2B5EF4-FFF2-40B4-BE49-F238E27FC236}">
                    <a16:creationId xmlns:a16="http://schemas.microsoft.com/office/drawing/2014/main" id="{0328E3A6-47E9-4FDE-91C0-E05BDEDB95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3"/>
                  </a:ext>
                </a:extLst>
              </a:blip>
              <a:stretch>
                <a:fillRect/>
              </a:stretch>
            </p:blipFill>
            <p:spPr>
              <a:xfrm>
                <a:off x="9222412" y="2617825"/>
                <a:ext cx="644326" cy="644326"/>
              </a:xfrm>
              <a:prstGeom prst="rect">
                <a:avLst/>
              </a:prstGeom>
            </p:spPr>
          </p:pic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id="{5EC58054-9C58-40DC-B1D6-36930B35D16F}"/>
                  </a:ext>
                </a:extLst>
              </p:cNvPr>
              <p:cNvSpPr txBox="1"/>
              <p:nvPr/>
            </p:nvSpPr>
            <p:spPr>
              <a:xfrm>
                <a:off x="9128140" y="3182057"/>
                <a:ext cx="855878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Shipping</a:t>
                </a:r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4E7920B3-9A44-41DE-82F4-23983445431A}"/>
                </a:ext>
              </a:extLst>
            </p:cNvPr>
            <p:cNvGrpSpPr/>
            <p:nvPr/>
          </p:nvGrpSpPr>
          <p:grpSpPr>
            <a:xfrm>
              <a:off x="9575181" y="4121324"/>
              <a:ext cx="882288" cy="939513"/>
              <a:chOff x="9124375" y="1841475"/>
              <a:chExt cx="882288" cy="939513"/>
            </a:xfrm>
          </p:grpSpPr>
          <p:pic>
            <p:nvPicPr>
              <p:cNvPr id="116" name="Graphic 115">
                <a:extLst>
                  <a:ext uri="{FF2B5EF4-FFF2-40B4-BE49-F238E27FC236}">
                    <a16:creationId xmlns:a16="http://schemas.microsoft.com/office/drawing/2014/main" id="{A8919E5A-9CAA-44A7-9EF7-005686C56A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5"/>
                  </a:ext>
                </a:extLst>
              </a:blip>
              <a:stretch>
                <a:fillRect/>
              </a:stretch>
            </p:blipFill>
            <p:spPr>
              <a:xfrm>
                <a:off x="9236679" y="1841475"/>
                <a:ext cx="644326" cy="644326"/>
              </a:xfrm>
              <a:prstGeom prst="rect">
                <a:avLst/>
              </a:prstGeom>
            </p:spPr>
          </p:pic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8C42C6C5-4365-4B43-B881-A7F9B416E045}"/>
                  </a:ext>
                </a:extLst>
              </p:cNvPr>
              <p:cNvSpPr txBox="1"/>
              <p:nvPr/>
            </p:nvSpPr>
            <p:spPr>
              <a:xfrm>
                <a:off x="9124375" y="2473211"/>
                <a:ext cx="882288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Oil &amp; Gas</a:t>
                </a:r>
              </a:p>
            </p:txBody>
          </p:sp>
        </p:grp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C8FC3601-EE45-4B25-9974-2382FCCB87FD}"/>
                </a:ext>
              </a:extLst>
            </p:cNvPr>
            <p:cNvGrpSpPr/>
            <p:nvPr/>
          </p:nvGrpSpPr>
          <p:grpSpPr>
            <a:xfrm>
              <a:off x="10547957" y="4112924"/>
              <a:ext cx="769925" cy="942791"/>
              <a:chOff x="9995999" y="1847589"/>
              <a:chExt cx="769925" cy="942791"/>
            </a:xfrm>
          </p:grpSpPr>
          <p:pic>
            <p:nvPicPr>
              <p:cNvPr id="119" name="Graphic 118">
                <a:extLst>
                  <a:ext uri="{FF2B5EF4-FFF2-40B4-BE49-F238E27FC236}">
                    <a16:creationId xmlns:a16="http://schemas.microsoft.com/office/drawing/2014/main" id="{1B6C7DDB-D651-4BEB-97FF-05E204BAE0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7"/>
                  </a:ext>
                </a:extLst>
              </a:blip>
              <a:stretch>
                <a:fillRect/>
              </a:stretch>
            </p:blipFill>
            <p:spPr>
              <a:xfrm>
                <a:off x="10076594" y="1847589"/>
                <a:ext cx="644326" cy="644326"/>
              </a:xfrm>
              <a:prstGeom prst="rect">
                <a:avLst/>
              </a:prstGeom>
            </p:spPr>
          </p:pic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48E10788-A497-471F-A5AE-FA5F87860DAE}"/>
                  </a:ext>
                </a:extLst>
              </p:cNvPr>
              <p:cNvSpPr txBox="1"/>
              <p:nvPr/>
            </p:nvSpPr>
            <p:spPr>
              <a:xfrm>
                <a:off x="9995999" y="2482603"/>
                <a:ext cx="76992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Cooling</a:t>
                </a:r>
              </a:p>
            </p:txBody>
          </p:sp>
        </p:grp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216FFE1E-ADB5-42FF-8736-E2076E22082D}"/>
                </a:ext>
              </a:extLst>
            </p:cNvPr>
            <p:cNvSpPr txBox="1"/>
            <p:nvPr/>
          </p:nvSpPr>
          <p:spPr>
            <a:xfrm>
              <a:off x="9809453" y="5247545"/>
              <a:ext cx="122752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Blue economy activities</a:t>
              </a:r>
            </a:p>
          </p:txBody>
        </p:sp>
      </p:grpSp>
      <p:sp>
        <p:nvSpPr>
          <p:cNvPr id="134" name="Rectangle 133">
            <a:extLst>
              <a:ext uri="{FF2B5EF4-FFF2-40B4-BE49-F238E27FC236}">
                <a16:creationId xmlns:a16="http://schemas.microsoft.com/office/drawing/2014/main" id="{F1618AE7-BDC0-4DB8-AD49-61CBCF0C727C}"/>
              </a:ext>
            </a:extLst>
          </p:cNvPr>
          <p:cNvSpPr/>
          <p:nvPr/>
        </p:nvSpPr>
        <p:spPr>
          <a:xfrm>
            <a:off x="195943" y="1288611"/>
            <a:ext cx="11800115" cy="76926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9A35F5DD-C01E-49B0-B7CD-AD1597481676}"/>
              </a:ext>
            </a:extLst>
          </p:cNvPr>
          <p:cNvSpPr/>
          <p:nvPr/>
        </p:nvSpPr>
        <p:spPr>
          <a:xfrm rot="5400000">
            <a:off x="4184277" y="4085668"/>
            <a:ext cx="5430242" cy="74664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7" name="Connector: Curved 136">
            <a:extLst>
              <a:ext uri="{FF2B5EF4-FFF2-40B4-BE49-F238E27FC236}">
                <a16:creationId xmlns:a16="http://schemas.microsoft.com/office/drawing/2014/main" id="{9DCF4ACC-E29E-428D-8873-30F8C95ED089}"/>
              </a:ext>
            </a:extLst>
          </p:cNvPr>
          <p:cNvCxnSpPr>
            <a:cxnSpLocks/>
            <a:stCxn id="101" idx="3"/>
            <a:endCxn id="104" idx="1"/>
          </p:cNvCxnSpPr>
          <p:nvPr/>
        </p:nvCxnSpPr>
        <p:spPr>
          <a:xfrm flipV="1">
            <a:off x="8262533" y="2205272"/>
            <a:ext cx="1278434" cy="1361753"/>
          </a:xfrm>
          <a:prstGeom prst="curved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0" name="Connector: Curved 139">
            <a:extLst>
              <a:ext uri="{FF2B5EF4-FFF2-40B4-BE49-F238E27FC236}">
                <a16:creationId xmlns:a16="http://schemas.microsoft.com/office/drawing/2014/main" id="{51F1BEC5-ECC7-4187-9A07-241A1ECB00CC}"/>
              </a:ext>
            </a:extLst>
          </p:cNvPr>
          <p:cNvCxnSpPr>
            <a:cxnSpLocks/>
            <a:stCxn id="101" idx="3"/>
            <a:endCxn id="117" idx="1"/>
          </p:cNvCxnSpPr>
          <p:nvPr/>
        </p:nvCxnSpPr>
        <p:spPr>
          <a:xfrm>
            <a:off x="8262533" y="3567025"/>
            <a:ext cx="1193890" cy="1031165"/>
          </a:xfrm>
          <a:prstGeom prst="curvedConnector3">
            <a:avLst>
              <a:gd name="adj1" fmla="val 50000"/>
            </a:avLst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3" name="TextBox 142">
            <a:extLst>
              <a:ext uri="{FF2B5EF4-FFF2-40B4-BE49-F238E27FC236}">
                <a16:creationId xmlns:a16="http://schemas.microsoft.com/office/drawing/2014/main" id="{F99A0528-EF3A-4968-8D5F-C297B9B90A4D}"/>
              </a:ext>
            </a:extLst>
          </p:cNvPr>
          <p:cNvSpPr txBox="1"/>
          <p:nvPr/>
        </p:nvSpPr>
        <p:spPr>
          <a:xfrm>
            <a:off x="4595259" y="1399387"/>
            <a:ext cx="1261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872A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56B25939-FFA2-4626-804F-2A72FD2CEDA7}"/>
              </a:ext>
            </a:extLst>
          </p:cNvPr>
          <p:cNvSpPr txBox="1"/>
          <p:nvPr/>
        </p:nvSpPr>
        <p:spPr>
          <a:xfrm>
            <a:off x="4264285" y="1775295"/>
            <a:ext cx="22873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Vestas </a:t>
            </a:r>
            <a:r>
              <a:rPr lang="en-US" sz="1400" b="1" dirty="0">
                <a:solidFill>
                  <a:srgbClr val="0872A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5 MW 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wind turbine will start production 2024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60819CE8-3F10-407D-9C6F-75DC1A120CCB}"/>
              </a:ext>
            </a:extLst>
          </p:cNvPr>
          <p:cNvSpPr txBox="1"/>
          <p:nvPr/>
        </p:nvSpPr>
        <p:spPr>
          <a:xfrm>
            <a:off x="4264285" y="2901345"/>
            <a:ext cx="228731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NorthH2 offshore wind – hydrogen production project with </a:t>
            </a:r>
            <a:r>
              <a:rPr lang="en-US" sz="1400" b="1" dirty="0">
                <a:solidFill>
                  <a:srgbClr val="0872A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0 MW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electrolyzer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capacity in the Netherlands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11D1CDF8-7673-49C4-8C3B-E46BE948A25B}"/>
              </a:ext>
            </a:extLst>
          </p:cNvPr>
          <p:cNvSpPr txBox="1"/>
          <p:nvPr/>
        </p:nvSpPr>
        <p:spPr>
          <a:xfrm>
            <a:off x="4264285" y="3993222"/>
            <a:ext cx="22873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Norway’s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Hywind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ampen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>
                <a:solidFill>
                  <a:srgbClr val="0872A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8 MW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floating offshore farm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A6150235-C821-4A3F-AF9A-21ED705A34F8}"/>
              </a:ext>
            </a:extLst>
          </p:cNvPr>
          <p:cNvSpPr txBox="1"/>
          <p:nvPr/>
        </p:nvSpPr>
        <p:spPr>
          <a:xfrm>
            <a:off x="4264285" y="4852827"/>
            <a:ext cx="228731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Denmark’s two artificial offshore wind islands with a </a:t>
            </a:r>
            <a:r>
              <a:rPr lang="en-US" sz="1400" b="1" dirty="0">
                <a:solidFill>
                  <a:srgbClr val="0872A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 GW 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total capacity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65DFB4C9-415E-4E5F-95B3-3B3BCD39E37B}"/>
              </a:ext>
            </a:extLst>
          </p:cNvPr>
          <p:cNvSpPr txBox="1"/>
          <p:nvPr/>
        </p:nvSpPr>
        <p:spPr>
          <a:xfrm>
            <a:off x="4264285" y="5762586"/>
            <a:ext cx="228731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Skypower100 airborne wind system in Germany with a capacity of </a:t>
            </a:r>
            <a:r>
              <a:rPr lang="en-US" sz="1400" b="1" dirty="0">
                <a:solidFill>
                  <a:srgbClr val="0872A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0 kW</a:t>
            </a:r>
          </a:p>
        </p:txBody>
      </p:sp>
    </p:spTree>
    <p:extLst>
      <p:ext uri="{BB962C8B-B14F-4D97-AF65-F5344CB8AC3E}">
        <p14:creationId xmlns:p14="http://schemas.microsoft.com/office/powerpoint/2010/main" val="17105811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EC91515-F5CD-4D0F-A522-0248E52DAEB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360" y="262908"/>
            <a:ext cx="2442754" cy="61953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7FC988A-D811-46DB-A933-309DB3214690}"/>
              </a:ext>
            </a:extLst>
          </p:cNvPr>
          <p:cNvSpPr/>
          <p:nvPr/>
        </p:nvSpPr>
        <p:spPr>
          <a:xfrm>
            <a:off x="496013" y="-23350"/>
            <a:ext cx="8359752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GB" sz="2800" b="1" dirty="0">
                <a:solidFill>
                  <a:srgbClr val="0872A6"/>
                </a:solidFill>
                <a:latin typeface="ITC Avant Garde Gothic" pitchFamily="34" charset="0"/>
                <a:cs typeface="+mj-cs"/>
              </a:rPr>
              <a:t>Recommendations for a G20 Offshore Renewables Action Agenda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CF57774E-4920-45A6-989C-5B644FBA5E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74560031"/>
              </p:ext>
            </p:extLst>
          </p:nvPr>
        </p:nvGraphicFramePr>
        <p:xfrm>
          <a:off x="4374311" y="1176425"/>
          <a:ext cx="7268958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1E227675-A769-40D6-8DC1-370E5ECCFB0D}"/>
              </a:ext>
            </a:extLst>
          </p:cNvPr>
          <p:cNvSpPr/>
          <p:nvPr/>
        </p:nvSpPr>
        <p:spPr>
          <a:xfrm>
            <a:off x="365831" y="2015236"/>
            <a:ext cx="4111613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GB" sz="2400" b="1" dirty="0">
                <a:solidFill>
                  <a:srgbClr val="002060"/>
                </a:solidFill>
                <a:latin typeface="+mn-lt"/>
                <a:cs typeface="+mj-cs"/>
              </a:rPr>
              <a:t>G20 strengths to push an Offshore RE Global Agend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13D85FA-AC82-46D9-B460-4983C56411C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5831" y="3215011"/>
            <a:ext cx="4371975" cy="2352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1870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7">
            <a:extLst>
              <a:ext uri="{FF2B5EF4-FFF2-40B4-BE49-F238E27FC236}">
                <a16:creationId xmlns:a16="http://schemas.microsoft.com/office/drawing/2014/main" id="{DC5DA581-325D-4398-95B0-6AD8AE8E4A48}"/>
              </a:ext>
            </a:extLst>
          </p:cNvPr>
          <p:cNvGrpSpPr>
            <a:grpSpLocks/>
          </p:cNvGrpSpPr>
          <p:nvPr/>
        </p:nvGrpSpPr>
        <p:grpSpPr bwMode="auto">
          <a:xfrm>
            <a:off x="773430" y="4768129"/>
            <a:ext cx="11201400" cy="1950948"/>
            <a:chOff x="-2862251" y="4456943"/>
            <a:chExt cx="11855741" cy="1915257"/>
          </a:xfrm>
        </p:grpSpPr>
        <p:sp>
          <p:nvSpPr>
            <p:cNvPr id="18" name="TextBox 19">
              <a:extLst>
                <a:ext uri="{FF2B5EF4-FFF2-40B4-BE49-F238E27FC236}">
                  <a16:creationId xmlns:a16="http://schemas.microsoft.com/office/drawing/2014/main" id="{CC68635C-DC41-45D9-AD09-B8D2F38EF8E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-2077772" y="4542425"/>
              <a:ext cx="5317684" cy="3726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r>
                <a:rPr lang="en-US" altLang="en-US" sz="2800" b="1" baseline="30000" dirty="0">
                  <a:solidFill>
                    <a:srgbClr val="0872A6"/>
                  </a:solidFill>
                  <a:latin typeface="+mn-lt"/>
                </a:rPr>
                <a:t>www.irena.org</a:t>
              </a:r>
            </a:p>
          </p:txBody>
        </p:sp>
        <p:sp>
          <p:nvSpPr>
            <p:cNvPr id="19" name="TextBox 20">
              <a:extLst>
                <a:ext uri="{FF2B5EF4-FFF2-40B4-BE49-F238E27FC236}">
                  <a16:creationId xmlns:a16="http://schemas.microsoft.com/office/drawing/2014/main" id="{389D5BA3-42D7-47AB-8267-2D24D6AE493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-2077772" y="5274860"/>
              <a:ext cx="5317684" cy="3726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r>
                <a:rPr lang="en-US" altLang="en-US" sz="2800" b="1" baseline="30000">
                  <a:solidFill>
                    <a:srgbClr val="0872A6"/>
                  </a:solidFill>
                  <a:latin typeface="+mn-lt"/>
                </a:rPr>
                <a:t>www.twitter.com/irena</a:t>
              </a:r>
            </a:p>
          </p:txBody>
        </p:sp>
        <p:sp>
          <p:nvSpPr>
            <p:cNvPr id="20" name="TextBox 21">
              <a:extLst>
                <a:ext uri="{FF2B5EF4-FFF2-40B4-BE49-F238E27FC236}">
                  <a16:creationId xmlns:a16="http://schemas.microsoft.com/office/drawing/2014/main" id="{04D47A39-702E-4F2A-9183-6DC9F425501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-2077772" y="5838058"/>
              <a:ext cx="4831781" cy="5136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r>
                <a:rPr lang="en-US" altLang="en-US" sz="2800" b="1" baseline="30000">
                  <a:solidFill>
                    <a:srgbClr val="0872A6"/>
                  </a:solidFill>
                  <a:latin typeface="+mn-lt"/>
                </a:rPr>
                <a:t>www.facebook.com/irena.org</a:t>
              </a:r>
              <a:endParaRPr lang="en-US" altLang="en-US" sz="2800" b="1">
                <a:solidFill>
                  <a:srgbClr val="0872A6"/>
                </a:solidFill>
                <a:latin typeface="+mn-lt"/>
              </a:endParaRPr>
            </a:p>
          </p:txBody>
        </p:sp>
        <p:sp>
          <p:nvSpPr>
            <p:cNvPr id="21" name="TextBox 22">
              <a:extLst>
                <a:ext uri="{FF2B5EF4-FFF2-40B4-BE49-F238E27FC236}">
                  <a16:creationId xmlns:a16="http://schemas.microsoft.com/office/drawing/2014/main" id="{C1D46233-B385-4B9C-A2B7-EC3C2A2F1B2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43443" y="4466102"/>
              <a:ext cx="5774885" cy="5136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r>
                <a:rPr lang="en-US" altLang="en-US" sz="2800" b="1" baseline="30000">
                  <a:solidFill>
                    <a:srgbClr val="0872A6"/>
                  </a:solidFill>
                  <a:latin typeface="+mn-lt"/>
                </a:rPr>
                <a:t>www.instagram.com/irenaimages</a:t>
              </a:r>
              <a:endParaRPr lang="en-US" altLang="en-US" sz="2800" b="1">
                <a:solidFill>
                  <a:srgbClr val="0872A6"/>
                </a:solidFill>
                <a:latin typeface="+mn-lt"/>
              </a:endParaRPr>
            </a:p>
          </p:txBody>
        </p:sp>
        <p:pic>
          <p:nvPicPr>
            <p:cNvPr id="22" name="Picture 23">
              <a:extLst>
                <a:ext uri="{FF2B5EF4-FFF2-40B4-BE49-F238E27FC236}">
                  <a16:creationId xmlns:a16="http://schemas.microsoft.com/office/drawing/2014/main" id="{FA324ACF-34D8-4D91-BA14-9FE54C486F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862251" y="4456943"/>
              <a:ext cx="457200" cy="457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24">
              <a:extLst>
                <a:ext uri="{FF2B5EF4-FFF2-40B4-BE49-F238E27FC236}">
                  <a16:creationId xmlns:a16="http://schemas.microsoft.com/office/drawing/2014/main" id="{FF5DFA50-85D7-44BB-A432-9E91C1B0A8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850142" y="5909155"/>
              <a:ext cx="457200" cy="457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25">
              <a:extLst>
                <a:ext uri="{FF2B5EF4-FFF2-40B4-BE49-F238E27FC236}">
                  <a16:creationId xmlns:a16="http://schemas.microsoft.com/office/drawing/2014/main" id="{47346A2E-1EEE-4A2B-A970-ECDB71665ED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1807" y="4456943"/>
              <a:ext cx="457200" cy="457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TextBox 26">
              <a:extLst>
                <a:ext uri="{FF2B5EF4-FFF2-40B4-BE49-F238E27FC236}">
                  <a16:creationId xmlns:a16="http://schemas.microsoft.com/office/drawing/2014/main" id="{53BF934A-C25C-4E83-9D02-2D0A8FDFA89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22378" y="5187045"/>
              <a:ext cx="5871112" cy="5136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r>
                <a:rPr lang="en-US" altLang="en-US" sz="2800" b="1" baseline="30000">
                  <a:solidFill>
                    <a:srgbClr val="0872A6"/>
                  </a:solidFill>
                  <a:latin typeface="+mn-lt"/>
                </a:rPr>
                <a:t>www.flickr.com/photos/irenaimages</a:t>
              </a:r>
              <a:endParaRPr lang="en-US" altLang="en-US" sz="2800" b="1">
                <a:solidFill>
                  <a:srgbClr val="0872A6"/>
                </a:solidFill>
                <a:latin typeface="+mn-lt"/>
              </a:endParaRPr>
            </a:p>
          </p:txBody>
        </p:sp>
        <p:pic>
          <p:nvPicPr>
            <p:cNvPr id="26" name="Picture 27">
              <a:extLst>
                <a:ext uri="{FF2B5EF4-FFF2-40B4-BE49-F238E27FC236}">
                  <a16:creationId xmlns:a16="http://schemas.microsoft.com/office/drawing/2014/main" id="{41A2BBCA-2271-494F-85BB-A1A47C523D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35961" y="5909155"/>
              <a:ext cx="463045" cy="4630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28">
              <a:extLst>
                <a:ext uri="{FF2B5EF4-FFF2-40B4-BE49-F238E27FC236}">
                  <a16:creationId xmlns:a16="http://schemas.microsoft.com/office/drawing/2014/main" id="{F7FFCB76-9DE7-4FF8-B8EF-9F43DFCA0C7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862251" y="5182213"/>
              <a:ext cx="472708" cy="4727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29">
              <a:extLst>
                <a:ext uri="{FF2B5EF4-FFF2-40B4-BE49-F238E27FC236}">
                  <a16:creationId xmlns:a16="http://schemas.microsoft.com/office/drawing/2014/main" id="{37744BC1-7E24-440A-B024-EE02D55210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35961" y="5187044"/>
              <a:ext cx="463045" cy="4630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" name="TextBox 30">
              <a:extLst>
                <a:ext uri="{FF2B5EF4-FFF2-40B4-BE49-F238E27FC236}">
                  <a16:creationId xmlns:a16="http://schemas.microsoft.com/office/drawing/2014/main" id="{D5562DFB-1ACE-474C-AAD2-7A2A3A84118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24874" y="5838058"/>
              <a:ext cx="5470087" cy="5136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r>
                <a:rPr lang="en-US" altLang="en-US" sz="2800" b="1" baseline="30000">
                  <a:solidFill>
                    <a:srgbClr val="0872A6"/>
                  </a:solidFill>
                  <a:latin typeface="+mn-lt"/>
                </a:rPr>
                <a:t>www.youtube.com/user/irenaorg</a:t>
              </a:r>
              <a:endParaRPr lang="en-US" altLang="en-US" sz="2800" b="1">
                <a:solidFill>
                  <a:srgbClr val="0872A6"/>
                </a:solidFill>
                <a:latin typeface="+mn-lt"/>
              </a:endParaRPr>
            </a:p>
          </p:txBody>
        </p:sp>
      </p:grpSp>
      <p:sp>
        <p:nvSpPr>
          <p:cNvPr id="34" name="object 3">
            <a:extLst>
              <a:ext uri="{FF2B5EF4-FFF2-40B4-BE49-F238E27FC236}">
                <a16:creationId xmlns:a16="http://schemas.microsoft.com/office/drawing/2014/main" id="{D5E18961-A582-4F8E-B984-9374D0AF9F6E}"/>
              </a:ext>
            </a:extLst>
          </p:cNvPr>
          <p:cNvSpPr txBox="1">
            <a:spLocks/>
          </p:cNvSpPr>
          <p:nvPr/>
        </p:nvSpPr>
        <p:spPr>
          <a:xfrm>
            <a:off x="5210133" y="1430094"/>
            <a:ext cx="6525176" cy="84382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spcBef>
                <a:spcPts val="100"/>
              </a:spcBef>
            </a:pPr>
            <a:r>
              <a:rPr lang="en-GB" sz="5400" b="1" spc="-10" dirty="0">
                <a:solidFill>
                  <a:srgbClr val="002060"/>
                </a:solidFill>
                <a:latin typeface="+mn-lt"/>
              </a:rPr>
              <a:t>Thank you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6A92F18-D4E1-4E2C-89C8-0F724353E723}"/>
              </a:ext>
            </a:extLst>
          </p:cNvPr>
          <p:cNvGrpSpPr/>
          <p:nvPr/>
        </p:nvGrpSpPr>
        <p:grpSpPr>
          <a:xfrm>
            <a:off x="498224" y="869569"/>
            <a:ext cx="3982113" cy="3051859"/>
            <a:chOff x="1116243" y="3533380"/>
            <a:chExt cx="4157675" cy="3103018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47055152-1FC3-485C-ADA5-40080A01ED5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 rot="321786">
              <a:off x="3111747" y="3533380"/>
              <a:ext cx="2162171" cy="310301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349B9A05-249A-492A-8E18-44AAF1DD6A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 rot="21316204">
              <a:off x="1116243" y="3566796"/>
              <a:ext cx="2110557" cy="303197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41807951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CF6BCA68-95CE-4345-8D21-620405C266CB}"/>
              </a:ext>
            </a:extLst>
          </p:cNvPr>
          <p:cNvSpPr/>
          <p:nvPr/>
        </p:nvSpPr>
        <p:spPr>
          <a:xfrm rot="5400000">
            <a:off x="1545213" y="5030300"/>
            <a:ext cx="3539976" cy="71040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A599A6F-68AA-4454-8CB9-612B0D5297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A599A6F-68AA-4454-8CB9-612B0D5297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>
            <a:extLst>
              <a:ext uri="{FF2B5EF4-FFF2-40B4-BE49-F238E27FC236}">
                <a16:creationId xmlns:a16="http://schemas.microsoft.com/office/drawing/2014/main" id="{1C42DD9B-AF86-4D22-93EF-267C52FD6C7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-3"/>
          <a:stretch/>
        </p:blipFill>
        <p:spPr>
          <a:xfrm>
            <a:off x="283314" y="7113781"/>
            <a:ext cx="8448087" cy="4570649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DCAAFE7-48F8-4F06-B52D-37FD466D7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013" y="298174"/>
            <a:ext cx="9100310" cy="484187"/>
          </a:xfrm>
        </p:spPr>
        <p:txBody>
          <a:bodyPr vert="horz"/>
          <a:lstStyle/>
          <a:p>
            <a:r>
              <a:rPr lang="en-US" sz="3200" dirty="0"/>
              <a:t>Importance of G20 supporting Offshore Renewab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D82E638-35F5-4991-801B-0BBE502CC5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696" y="1445348"/>
            <a:ext cx="1482446" cy="148244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5F93423-B6D8-4E65-A4C8-CEA647237C0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5629" y="1445348"/>
            <a:ext cx="1482446" cy="148244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98E0228-90CF-49F9-9FA3-05E7C3C7BE4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4910" y="1445348"/>
            <a:ext cx="1482446" cy="148244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DC49BC6-5914-442A-AD3A-28D42BDD480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420" y="4156528"/>
            <a:ext cx="870552" cy="87055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3DA914A-F2B0-4EC2-B5F6-AD23DC5B9A0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013" y="5702494"/>
            <a:ext cx="806959" cy="80695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DB8A32D-AA57-4281-B678-E16DEF0D672C}"/>
              </a:ext>
            </a:extLst>
          </p:cNvPr>
          <p:cNvSpPr txBox="1"/>
          <p:nvPr/>
        </p:nvSpPr>
        <p:spPr>
          <a:xfrm>
            <a:off x="2632336" y="1712685"/>
            <a:ext cx="130609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0872A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0%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f the global popul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18CA259-0CC7-4BA4-A73D-4C60E311433C}"/>
              </a:ext>
            </a:extLst>
          </p:cNvPr>
          <p:cNvSpPr txBox="1"/>
          <p:nvPr/>
        </p:nvSpPr>
        <p:spPr>
          <a:xfrm>
            <a:off x="6015269" y="1712685"/>
            <a:ext cx="148244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0872A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0%</a:t>
            </a:r>
          </a:p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f global GDP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D1CF682-0655-47A7-B64A-3CC4FD571278}"/>
              </a:ext>
            </a:extLst>
          </p:cNvPr>
          <p:cNvSpPr txBox="1"/>
          <p:nvPr/>
        </p:nvSpPr>
        <p:spPr>
          <a:xfrm>
            <a:off x="9574549" y="1712685"/>
            <a:ext cx="167227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0872A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5%</a:t>
            </a:r>
          </a:p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f global expor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588407E-B8A6-4B8D-B22A-F78EFCE956D9}"/>
              </a:ext>
            </a:extLst>
          </p:cNvPr>
          <p:cNvSpPr/>
          <p:nvPr/>
        </p:nvSpPr>
        <p:spPr>
          <a:xfrm>
            <a:off x="195943" y="3200537"/>
            <a:ext cx="11800115" cy="76926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CE0E5D-E1EF-4B45-80C4-D9FA7FB41321}"/>
              </a:ext>
            </a:extLst>
          </p:cNvPr>
          <p:cNvSpPr txBox="1"/>
          <p:nvPr/>
        </p:nvSpPr>
        <p:spPr>
          <a:xfrm>
            <a:off x="1287972" y="4176305"/>
            <a:ext cx="14671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0872A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/5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of the global energy dema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F511FDD-B9A0-4BBC-A009-D7489D515E46}"/>
              </a:ext>
            </a:extLst>
          </p:cNvPr>
          <p:cNvSpPr txBox="1"/>
          <p:nvPr/>
        </p:nvSpPr>
        <p:spPr>
          <a:xfrm>
            <a:off x="1287971" y="5596576"/>
            <a:ext cx="14671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0872A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9%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of the global carbon emission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0E6C867-AA17-435A-A7EC-8EFF046FC273}"/>
              </a:ext>
            </a:extLst>
          </p:cNvPr>
          <p:cNvSpPr txBox="1"/>
          <p:nvPr/>
        </p:nvSpPr>
        <p:spPr>
          <a:xfrm>
            <a:off x="902072" y="1032091"/>
            <a:ext cx="13836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Popula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0601EE1-EDCB-461B-B51F-0E5324964049}"/>
              </a:ext>
            </a:extLst>
          </p:cNvPr>
          <p:cNvSpPr txBox="1"/>
          <p:nvPr/>
        </p:nvSpPr>
        <p:spPr>
          <a:xfrm>
            <a:off x="4405522" y="1030377"/>
            <a:ext cx="11426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Econom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C344B94-4784-44CF-AE21-1C47394A9EAA}"/>
              </a:ext>
            </a:extLst>
          </p:cNvPr>
          <p:cNvSpPr txBox="1"/>
          <p:nvPr/>
        </p:nvSpPr>
        <p:spPr>
          <a:xfrm>
            <a:off x="8089039" y="1026869"/>
            <a:ext cx="8941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Trad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DBB2857-EF7B-4208-B9EE-11B8FACBF36A}"/>
              </a:ext>
            </a:extLst>
          </p:cNvPr>
          <p:cNvSpPr txBox="1"/>
          <p:nvPr/>
        </p:nvSpPr>
        <p:spPr>
          <a:xfrm>
            <a:off x="249615" y="3842025"/>
            <a:ext cx="13836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Energ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23CBF88-4971-4D0F-B57E-96CBB9F9D773}"/>
              </a:ext>
            </a:extLst>
          </p:cNvPr>
          <p:cNvSpPr txBox="1"/>
          <p:nvPr/>
        </p:nvSpPr>
        <p:spPr>
          <a:xfrm>
            <a:off x="249615" y="5310981"/>
            <a:ext cx="13836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Emission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8BF8D40-A880-45EC-8C43-7049F4BF5719}"/>
              </a:ext>
            </a:extLst>
          </p:cNvPr>
          <p:cNvSpPr txBox="1"/>
          <p:nvPr/>
        </p:nvSpPr>
        <p:spPr>
          <a:xfrm>
            <a:off x="6510304" y="3372439"/>
            <a:ext cx="23309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Renewable Energy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B074C4B8-7026-4F40-9B7C-44FC2FF569B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0353" y="4156528"/>
            <a:ext cx="870552" cy="87055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B5918832-47A0-4F45-A833-94E4DEDD942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863946" y="5702494"/>
            <a:ext cx="806959" cy="806959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4C8E849D-9E81-4251-9BAC-CA5928FC51A4}"/>
              </a:ext>
            </a:extLst>
          </p:cNvPr>
          <p:cNvSpPr txBox="1"/>
          <p:nvPr/>
        </p:nvSpPr>
        <p:spPr>
          <a:xfrm>
            <a:off x="3543781" y="3842025"/>
            <a:ext cx="13836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Genera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D2A7886-705F-4836-B6C5-49F80ADBCC22}"/>
              </a:ext>
            </a:extLst>
          </p:cNvPr>
          <p:cNvSpPr txBox="1"/>
          <p:nvPr/>
        </p:nvSpPr>
        <p:spPr>
          <a:xfrm>
            <a:off x="3529875" y="5310981"/>
            <a:ext cx="14115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Offshore wind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B8BD102-FFA0-4796-8D4C-D29F88DA6E5E}"/>
              </a:ext>
            </a:extLst>
          </p:cNvPr>
          <p:cNvSpPr txBox="1"/>
          <p:nvPr/>
        </p:nvSpPr>
        <p:spPr>
          <a:xfrm>
            <a:off x="4923490" y="4176305"/>
            <a:ext cx="25742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0872A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1%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of the global installed renewable generation capacity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AFB22B0-8B56-46D5-8305-3FB4D3CE9723}"/>
              </a:ext>
            </a:extLst>
          </p:cNvPr>
          <p:cNvSpPr txBox="1"/>
          <p:nvPr/>
        </p:nvSpPr>
        <p:spPr>
          <a:xfrm>
            <a:off x="4923490" y="5596576"/>
            <a:ext cx="14671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0872A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9.3%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of the global installed capacity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9A737E16-0AE8-436F-B6BF-489E5FD4D5E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5102" y="4156528"/>
            <a:ext cx="870552" cy="870552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5CE24907-F4F0-41C4-AC7F-B1B527C0BDBE}"/>
              </a:ext>
            </a:extLst>
          </p:cNvPr>
          <p:cNvSpPr txBox="1"/>
          <p:nvPr/>
        </p:nvSpPr>
        <p:spPr>
          <a:xfrm>
            <a:off x="7768530" y="3842025"/>
            <a:ext cx="13836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Potential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6E5A938-DA9E-438B-9648-127463C52C04}"/>
              </a:ext>
            </a:extLst>
          </p:cNvPr>
          <p:cNvSpPr txBox="1"/>
          <p:nvPr/>
        </p:nvSpPr>
        <p:spPr>
          <a:xfrm>
            <a:off x="9148239" y="4176305"/>
            <a:ext cx="25742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0872A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5%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of the global 2010 - 2030 renewable deployment potential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EAB87625-4D84-4662-818F-AAB95984CB0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035" y="5702494"/>
            <a:ext cx="806959" cy="806959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F5187A70-E9AF-4871-B9B8-60973D7AB76F}"/>
              </a:ext>
            </a:extLst>
          </p:cNvPr>
          <p:cNvSpPr txBox="1"/>
          <p:nvPr/>
        </p:nvSpPr>
        <p:spPr>
          <a:xfrm>
            <a:off x="6364964" y="5310981"/>
            <a:ext cx="14115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Ocean Energy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F5BE8E4-B3A1-43ED-AF4A-48389975DCFA}"/>
              </a:ext>
            </a:extLst>
          </p:cNvPr>
          <p:cNvSpPr txBox="1"/>
          <p:nvPr/>
        </p:nvSpPr>
        <p:spPr>
          <a:xfrm>
            <a:off x="7758579" y="5596576"/>
            <a:ext cx="14671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0872A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0%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of the global installed capacity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8A896C7-A384-46CA-ABFA-0FE7C6920017}"/>
              </a:ext>
            </a:extLst>
          </p:cNvPr>
          <p:cNvSpPr txBox="1"/>
          <p:nvPr/>
        </p:nvSpPr>
        <p:spPr>
          <a:xfrm>
            <a:off x="9152225" y="5310981"/>
            <a:ext cx="14115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Floating PV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FA4A57F-1981-44C2-95BE-57D92628B92F}"/>
              </a:ext>
            </a:extLst>
          </p:cNvPr>
          <p:cNvSpPr txBox="1"/>
          <p:nvPr/>
        </p:nvSpPr>
        <p:spPr>
          <a:xfrm>
            <a:off x="10531095" y="5596576"/>
            <a:ext cx="1496592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0872A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/A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(However plenty deployed projects are in G20 countries)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A0FD4AC-8024-428A-B9D8-81AF45DFF596}"/>
              </a:ext>
            </a:extLst>
          </p:cNvPr>
          <p:cNvGrpSpPr/>
          <p:nvPr/>
        </p:nvGrpSpPr>
        <p:grpSpPr>
          <a:xfrm>
            <a:off x="9409675" y="5825057"/>
            <a:ext cx="858806" cy="504492"/>
            <a:chOff x="9242804" y="5727032"/>
            <a:chExt cx="1192547" cy="700541"/>
          </a:xfrm>
        </p:grpSpPr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ECC6EB1F-FA1A-4905-B2A8-EC88C16404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 t="32749"/>
            <a:stretch/>
          </p:blipFill>
          <p:spPr>
            <a:xfrm>
              <a:off x="9475198" y="5727032"/>
              <a:ext cx="765559" cy="526965"/>
            </a:xfrm>
            <a:prstGeom prst="rect">
              <a:avLst/>
            </a:prstGeom>
          </p:spPr>
        </p:pic>
        <p:pic>
          <p:nvPicPr>
            <p:cNvPr id="43" name="Picture 27">
              <a:extLst>
                <a:ext uri="{FF2B5EF4-FFF2-40B4-BE49-F238E27FC236}">
                  <a16:creationId xmlns:a16="http://schemas.microsoft.com/office/drawing/2014/main" id="{61BFDC4E-FC53-4C25-9B9C-05E924C395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t="84510"/>
            <a:stretch/>
          </p:blipFill>
          <p:spPr>
            <a:xfrm>
              <a:off x="9242804" y="6242844"/>
              <a:ext cx="1192547" cy="18472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102331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A599A6F-68AA-4454-8CB9-612B0D5297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A599A6F-68AA-4454-8CB9-612B0D5297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8BE02D8F-BCF4-4BAA-AB9B-78D3ADB445E1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653" y="1070673"/>
            <a:ext cx="10445202" cy="5682104"/>
          </a:xfrm>
          <a:prstGeom prst="rect">
            <a:avLst/>
          </a:prstGeom>
          <a:noFill/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C71B12F2-8090-4176-AA55-C829914887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074" y="0"/>
            <a:ext cx="8185910" cy="934278"/>
          </a:xfrm>
        </p:spPr>
        <p:txBody>
          <a:bodyPr vert="horz"/>
          <a:lstStyle/>
          <a:p>
            <a:r>
              <a:rPr lang="en-US" sz="3200" dirty="0"/>
              <a:t>Contributions of offshore renewables to the Blue Economy and the Energy Transition  </a:t>
            </a:r>
          </a:p>
        </p:txBody>
      </p:sp>
    </p:spTree>
    <p:extLst>
      <p:ext uri="{BB962C8B-B14F-4D97-AF65-F5344CB8AC3E}">
        <p14:creationId xmlns:p14="http://schemas.microsoft.com/office/powerpoint/2010/main" val="2406559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A599A6F-68AA-4454-8CB9-612B0D5297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A599A6F-68AA-4454-8CB9-612B0D5297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D0E9CCB-76FA-44DD-9DF6-E6CDAD1D1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012" y="298174"/>
            <a:ext cx="11229975" cy="484187"/>
          </a:xfrm>
        </p:spPr>
        <p:txBody>
          <a:bodyPr vert="horz"/>
          <a:lstStyle/>
          <a:p>
            <a:r>
              <a:rPr lang="en-US" sz="3200" dirty="0"/>
              <a:t>IRENA’s support to G20 on Offshore Renewab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A2A02A-F91E-443F-9E48-CEF28E7A59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8688" y="1143402"/>
            <a:ext cx="7980363" cy="5055515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What is meant by offshore renewables</a:t>
            </a:r>
          </a:p>
          <a:p>
            <a:r>
              <a:rPr lang="en-US" dirty="0"/>
              <a:t>Offshore wind – bottom fixed and floating</a:t>
            </a:r>
          </a:p>
          <a:p>
            <a:r>
              <a:rPr lang="en-US" dirty="0"/>
              <a:t>Floating PV</a:t>
            </a:r>
          </a:p>
          <a:p>
            <a:r>
              <a:rPr lang="en-US" dirty="0"/>
              <a:t>Marine technologies</a:t>
            </a:r>
          </a:p>
          <a:p>
            <a:r>
              <a:rPr lang="en-US" dirty="0"/>
              <a:t>Increasing attention for offshore hydrogen islands 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sz="1800" b="1" dirty="0">
                <a:solidFill>
                  <a:srgbClr val="0070C0"/>
                </a:solidFill>
              </a:rPr>
              <a:t>Today’s event</a:t>
            </a:r>
          </a:p>
          <a:p>
            <a:r>
              <a:rPr lang="en-US" sz="1800" b="1" dirty="0">
                <a:solidFill>
                  <a:srgbClr val="0070C0"/>
                </a:solidFill>
              </a:rPr>
              <a:t>Objective</a:t>
            </a:r>
            <a:r>
              <a:rPr lang="en-US" sz="1800" dirty="0">
                <a:solidFill>
                  <a:srgbClr val="0070C0"/>
                </a:solidFill>
              </a:rPr>
              <a:t>: </a:t>
            </a:r>
            <a:r>
              <a:rPr lang="en-US" sz="1800" dirty="0"/>
              <a:t>collect insights from experts to support G20 Action Agenda for offshore renewable energy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IRENA’s Report for G20 Energy Ministerial Meeting 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July 23rd - release of report at G20 Energy Ministerial Meeting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41DA69-246C-464B-BE9D-A8884FB08E4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F40C168-814B-4796-9FE0-A5C71BEDF02F}" type="slidenum">
              <a:rPr lang="de-DE" altLang="en-US" smtClean="0"/>
              <a:pPr>
                <a:defRPr/>
              </a:pPr>
              <a:t>4</a:t>
            </a:fld>
            <a:endParaRPr lang="de-DE" alt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062D66-1B3C-4264-B0FE-54CDF165E90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5681" y="927229"/>
            <a:ext cx="4298053" cy="341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3946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C4CCC3FC-7EAE-4236-99E0-07965D894842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89880"/>
            <a:ext cx="12192000" cy="536812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A599A6F-68AA-4454-8CB9-612B0D5297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A599A6F-68AA-4454-8CB9-612B0D5297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665E76AE-2133-4BEF-90BC-12270C8D1B9B}"/>
              </a:ext>
            </a:extLst>
          </p:cNvPr>
          <p:cNvSpPr txBox="1">
            <a:spLocks/>
          </p:cNvSpPr>
          <p:nvPr/>
        </p:nvSpPr>
        <p:spPr bwMode="auto">
          <a:xfrm>
            <a:off x="437577" y="75791"/>
            <a:ext cx="9036067" cy="842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>
              <a:defRPr sz="2600" b="1">
                <a:solidFill>
                  <a:srgbClr val="002060"/>
                </a:solidFill>
                <a:latin typeface="+mn-lt"/>
                <a:cs typeface="+mj-cs"/>
              </a:defRPr>
            </a:lvl1pPr>
            <a:lvl2pPr>
              <a:defRPr sz="2700" b="1">
                <a:solidFill>
                  <a:srgbClr val="0872A6"/>
                </a:solidFill>
                <a:latin typeface="ITC Avant Garde Gothic" charset="0"/>
                <a:cs typeface="Arial" charset="0"/>
              </a:defRPr>
            </a:lvl2pPr>
            <a:lvl3pPr>
              <a:defRPr sz="2700" b="1">
                <a:solidFill>
                  <a:srgbClr val="0872A6"/>
                </a:solidFill>
                <a:latin typeface="ITC Avant Garde Gothic" charset="0"/>
                <a:cs typeface="Arial" charset="0"/>
              </a:defRPr>
            </a:lvl3pPr>
            <a:lvl4pPr>
              <a:defRPr sz="2700" b="1">
                <a:solidFill>
                  <a:srgbClr val="0872A6"/>
                </a:solidFill>
                <a:latin typeface="ITC Avant Garde Gothic" charset="0"/>
                <a:cs typeface="Arial" charset="0"/>
              </a:defRPr>
            </a:lvl4pPr>
            <a:lvl5pPr>
              <a:defRPr sz="2700" b="1">
                <a:solidFill>
                  <a:srgbClr val="0872A6"/>
                </a:solidFill>
                <a:latin typeface="ITC Avant Garde Gothic" charset="0"/>
                <a:cs typeface="Arial" charset="0"/>
              </a:defRPr>
            </a:lvl5pPr>
            <a:lvl6pPr marL="511761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6pPr>
            <a:lvl7pPr marL="1023523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7pPr>
            <a:lvl8pPr marL="1535285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8pPr>
            <a:lvl9pPr marL="2047046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GB" sz="2800" dirty="0">
                <a:solidFill>
                  <a:srgbClr val="0872A6"/>
                </a:solidFill>
                <a:latin typeface="ITC Avant Garde Gothic" pitchFamily="34" charset="0"/>
              </a:rPr>
              <a:t>Offshore Wind Market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8848C51-0BD8-49CE-BE6E-3E4FE0D64BEC}"/>
              </a:ext>
            </a:extLst>
          </p:cNvPr>
          <p:cNvGrpSpPr/>
          <p:nvPr/>
        </p:nvGrpSpPr>
        <p:grpSpPr>
          <a:xfrm>
            <a:off x="100175" y="748146"/>
            <a:ext cx="11946302" cy="6092044"/>
            <a:chOff x="100175" y="748146"/>
            <a:chExt cx="11946302" cy="6092044"/>
          </a:xfrm>
        </p:grpSpPr>
        <p:graphicFrame>
          <p:nvGraphicFramePr>
            <p:cNvPr id="12" name="Diagram 11">
              <a:extLst>
                <a:ext uri="{FF2B5EF4-FFF2-40B4-BE49-F238E27FC236}">
                  <a16:creationId xmlns:a16="http://schemas.microsoft.com/office/drawing/2014/main" id="{3BC1222A-E7F4-4B57-AED4-C222FFFC4B9E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093192672"/>
                </p:ext>
              </p:extLst>
            </p:nvPr>
          </p:nvGraphicFramePr>
          <p:xfrm>
            <a:off x="100175" y="748146"/>
            <a:ext cx="11946302" cy="609204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C84D473-9C40-4326-890D-4AA3C03995F8}"/>
                </a:ext>
              </a:extLst>
            </p:cNvPr>
            <p:cNvSpPr txBox="1"/>
            <p:nvPr/>
          </p:nvSpPr>
          <p:spPr>
            <a:xfrm>
              <a:off x="1033153" y="1204130"/>
              <a:ext cx="161504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 dirty="0">
                  <a:latin typeface="Calibri" panose="020F0502020204030204" pitchFamily="34" charset="0"/>
                  <a:cs typeface="Calibri" panose="020F0502020204030204" pitchFamily="34" charset="0"/>
                </a:rPr>
                <a:t>Market status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89FC2D0-CCFF-4E8A-B40E-EB53A708D70E}"/>
                </a:ext>
              </a:extLst>
            </p:cNvPr>
            <p:cNvSpPr txBox="1"/>
            <p:nvPr/>
          </p:nvSpPr>
          <p:spPr>
            <a:xfrm>
              <a:off x="4065153" y="1065631"/>
              <a:ext cx="161504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 dirty="0">
                  <a:latin typeface="Calibri" panose="020F0502020204030204" pitchFamily="34" charset="0"/>
                  <a:cs typeface="Calibri" panose="020F0502020204030204" pitchFamily="34" charset="0"/>
                </a:rPr>
                <a:t>Outlook in 1.5oC Scenario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A066A5A-1E78-4BF7-B69E-2836C587076E}"/>
                </a:ext>
              </a:extLst>
            </p:cNvPr>
            <p:cNvSpPr txBox="1"/>
            <p:nvPr/>
          </p:nvSpPr>
          <p:spPr>
            <a:xfrm>
              <a:off x="7085270" y="1204130"/>
              <a:ext cx="177372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 dirty="0">
                  <a:latin typeface="Calibri" panose="020F0502020204030204" pitchFamily="34" charset="0"/>
                  <a:cs typeface="Calibri" panose="020F0502020204030204" pitchFamily="34" charset="0"/>
                </a:rPr>
                <a:t>Competitivenes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BEEDE2E-B44E-455D-8F70-95325AE7ABC5}"/>
                </a:ext>
              </a:extLst>
            </p:cNvPr>
            <p:cNvSpPr txBox="1"/>
            <p:nvPr/>
          </p:nvSpPr>
          <p:spPr>
            <a:xfrm>
              <a:off x="10164762" y="1065631"/>
              <a:ext cx="161504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 dirty="0">
                  <a:latin typeface="Calibri" panose="020F0502020204030204" pitchFamily="34" charset="0"/>
                  <a:cs typeface="Calibri" panose="020F0502020204030204" pitchFamily="34" charset="0"/>
                </a:rPr>
                <a:t>Recent Developmen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00598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795472E-2EB3-4138-8C16-66BDAAB11D1F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19318"/>
            <a:ext cx="12192000" cy="5953195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61EEC2BC-EB03-42DD-AE74-21FD8D6E5D4D}"/>
              </a:ext>
            </a:extLst>
          </p:cNvPr>
          <p:cNvGrpSpPr/>
          <p:nvPr/>
        </p:nvGrpSpPr>
        <p:grpSpPr>
          <a:xfrm>
            <a:off x="100175" y="748146"/>
            <a:ext cx="11946302" cy="6092044"/>
            <a:chOff x="100175" y="748146"/>
            <a:chExt cx="11946302" cy="6092044"/>
          </a:xfrm>
        </p:grpSpPr>
        <p:graphicFrame>
          <p:nvGraphicFramePr>
            <p:cNvPr id="8" name="Diagram 7">
              <a:extLst>
                <a:ext uri="{FF2B5EF4-FFF2-40B4-BE49-F238E27FC236}">
                  <a16:creationId xmlns:a16="http://schemas.microsoft.com/office/drawing/2014/main" id="{213CB8DA-E1EE-4F6A-8FC0-E4E2D420E79C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62136080"/>
                </p:ext>
              </p:extLst>
            </p:nvPr>
          </p:nvGraphicFramePr>
          <p:xfrm>
            <a:off x="100175" y="748146"/>
            <a:ext cx="11946302" cy="609204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5" r:lo="rId6" r:qs="rId7" r:cs="rId8"/>
            </a:graphicData>
          </a:graphic>
        </p:graphicFrame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B89A1EF-1048-418B-AF62-08901A70747C}"/>
                </a:ext>
              </a:extLst>
            </p:cNvPr>
            <p:cNvSpPr txBox="1"/>
            <p:nvPr/>
          </p:nvSpPr>
          <p:spPr>
            <a:xfrm>
              <a:off x="1033153" y="1204130"/>
              <a:ext cx="161504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 dirty="0">
                  <a:latin typeface="Calibri" panose="020F0502020204030204" pitchFamily="34" charset="0"/>
                  <a:cs typeface="Calibri" panose="020F0502020204030204" pitchFamily="34" charset="0"/>
                </a:rPr>
                <a:t>Market statu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B25EF96-E00F-4669-8FF5-975CA07C83AE}"/>
                </a:ext>
              </a:extLst>
            </p:cNvPr>
            <p:cNvSpPr txBox="1"/>
            <p:nvPr/>
          </p:nvSpPr>
          <p:spPr>
            <a:xfrm>
              <a:off x="4065153" y="1065631"/>
              <a:ext cx="161504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 dirty="0">
                  <a:latin typeface="Calibri" panose="020F0502020204030204" pitchFamily="34" charset="0"/>
                  <a:cs typeface="Calibri" panose="020F0502020204030204" pitchFamily="34" charset="0"/>
                </a:rPr>
                <a:t>Outlook in 1.5oC Scenario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F76FC51-FF87-4884-966A-0B0EF3C3CA99}"/>
                </a:ext>
              </a:extLst>
            </p:cNvPr>
            <p:cNvSpPr txBox="1"/>
            <p:nvPr/>
          </p:nvSpPr>
          <p:spPr>
            <a:xfrm>
              <a:off x="7085270" y="1204130"/>
              <a:ext cx="177372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 dirty="0">
                  <a:latin typeface="Calibri" panose="020F0502020204030204" pitchFamily="34" charset="0"/>
                  <a:cs typeface="Calibri" panose="020F0502020204030204" pitchFamily="34" charset="0"/>
                </a:rPr>
                <a:t>Competitivenes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11FBED6-03BC-47E2-80A9-4007DBFBE5E0}"/>
                </a:ext>
              </a:extLst>
            </p:cNvPr>
            <p:cNvSpPr txBox="1"/>
            <p:nvPr/>
          </p:nvSpPr>
          <p:spPr>
            <a:xfrm>
              <a:off x="10164762" y="1065631"/>
              <a:ext cx="161504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 dirty="0">
                  <a:latin typeface="Calibri" panose="020F0502020204030204" pitchFamily="34" charset="0"/>
                  <a:cs typeface="Calibri" panose="020F0502020204030204" pitchFamily="34" charset="0"/>
                </a:rPr>
                <a:t>Recent Developments</a:t>
              </a:r>
            </a:p>
          </p:txBody>
        </p:sp>
      </p:grp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A599A6F-68AA-4454-8CB9-612B0D5297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29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A599A6F-68AA-4454-8CB9-612B0D5297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B3FAB735-D5CB-41B1-8254-E5DC618F9681}"/>
              </a:ext>
            </a:extLst>
          </p:cNvPr>
          <p:cNvSpPr txBox="1">
            <a:spLocks/>
          </p:cNvSpPr>
          <p:nvPr/>
        </p:nvSpPr>
        <p:spPr bwMode="auto">
          <a:xfrm>
            <a:off x="437577" y="75791"/>
            <a:ext cx="9036067" cy="842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>
              <a:defRPr sz="2600" b="1">
                <a:solidFill>
                  <a:srgbClr val="002060"/>
                </a:solidFill>
                <a:latin typeface="+mn-lt"/>
                <a:cs typeface="+mj-cs"/>
              </a:defRPr>
            </a:lvl1pPr>
            <a:lvl2pPr>
              <a:defRPr sz="2700" b="1">
                <a:solidFill>
                  <a:srgbClr val="0872A6"/>
                </a:solidFill>
                <a:latin typeface="ITC Avant Garde Gothic" charset="0"/>
                <a:cs typeface="Arial" charset="0"/>
              </a:defRPr>
            </a:lvl2pPr>
            <a:lvl3pPr>
              <a:defRPr sz="2700" b="1">
                <a:solidFill>
                  <a:srgbClr val="0872A6"/>
                </a:solidFill>
                <a:latin typeface="ITC Avant Garde Gothic" charset="0"/>
                <a:cs typeface="Arial" charset="0"/>
              </a:defRPr>
            </a:lvl3pPr>
            <a:lvl4pPr>
              <a:defRPr sz="2700" b="1">
                <a:solidFill>
                  <a:srgbClr val="0872A6"/>
                </a:solidFill>
                <a:latin typeface="ITC Avant Garde Gothic" charset="0"/>
                <a:cs typeface="Arial" charset="0"/>
              </a:defRPr>
            </a:lvl4pPr>
            <a:lvl5pPr>
              <a:defRPr sz="2700" b="1">
                <a:solidFill>
                  <a:srgbClr val="0872A6"/>
                </a:solidFill>
                <a:latin typeface="ITC Avant Garde Gothic" charset="0"/>
                <a:cs typeface="Arial" charset="0"/>
              </a:defRPr>
            </a:lvl5pPr>
            <a:lvl6pPr marL="511761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6pPr>
            <a:lvl7pPr marL="1023523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7pPr>
            <a:lvl8pPr marL="1535285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8pPr>
            <a:lvl9pPr marL="2047046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GB" sz="2800" dirty="0">
                <a:solidFill>
                  <a:srgbClr val="0872A6"/>
                </a:solidFill>
                <a:latin typeface="ITC Avant Garde Gothic" pitchFamily="34" charset="0"/>
              </a:rPr>
              <a:t>Ocean Energy Market</a:t>
            </a:r>
          </a:p>
        </p:txBody>
      </p:sp>
    </p:spTree>
    <p:extLst>
      <p:ext uri="{BB962C8B-B14F-4D97-AF65-F5344CB8AC3E}">
        <p14:creationId xmlns:p14="http://schemas.microsoft.com/office/powerpoint/2010/main" val="3251867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1E62E541-0FA9-4810-AC1D-17C4E91AD7CE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47703"/>
            <a:ext cx="12192000" cy="5921515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1157C2F-AECB-44CB-B593-F3E5F38D8339}"/>
              </a:ext>
            </a:extLst>
          </p:cNvPr>
          <p:cNvGrpSpPr/>
          <p:nvPr/>
        </p:nvGrpSpPr>
        <p:grpSpPr>
          <a:xfrm>
            <a:off x="100175" y="748146"/>
            <a:ext cx="11946302" cy="6092044"/>
            <a:chOff x="100175" y="748146"/>
            <a:chExt cx="11946302" cy="6092044"/>
          </a:xfrm>
        </p:grpSpPr>
        <p:graphicFrame>
          <p:nvGraphicFramePr>
            <p:cNvPr id="8" name="Diagram 7">
              <a:extLst>
                <a:ext uri="{FF2B5EF4-FFF2-40B4-BE49-F238E27FC236}">
                  <a16:creationId xmlns:a16="http://schemas.microsoft.com/office/drawing/2014/main" id="{40182933-BFFB-45D3-B7F7-2B75C9FD175A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2279002"/>
                </p:ext>
              </p:extLst>
            </p:nvPr>
          </p:nvGraphicFramePr>
          <p:xfrm>
            <a:off x="100175" y="748146"/>
            <a:ext cx="11946302" cy="609204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5" r:lo="rId6" r:qs="rId7" r:cs="rId8"/>
            </a:graphicData>
          </a:graphic>
        </p:graphicFrame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40D2F3E-33AD-49B7-9EBF-7172D9C3F4D2}"/>
                </a:ext>
              </a:extLst>
            </p:cNvPr>
            <p:cNvSpPr txBox="1"/>
            <p:nvPr/>
          </p:nvSpPr>
          <p:spPr>
            <a:xfrm>
              <a:off x="1033153" y="1204130"/>
              <a:ext cx="161504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 dirty="0">
                  <a:latin typeface="Calibri" panose="020F0502020204030204" pitchFamily="34" charset="0"/>
                  <a:cs typeface="Calibri" panose="020F0502020204030204" pitchFamily="34" charset="0"/>
                </a:rPr>
                <a:t>Market statu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13FCD6F-D228-4E9F-8196-091EBD9B798A}"/>
                </a:ext>
              </a:extLst>
            </p:cNvPr>
            <p:cNvSpPr txBox="1"/>
            <p:nvPr/>
          </p:nvSpPr>
          <p:spPr>
            <a:xfrm>
              <a:off x="4065153" y="1065631"/>
              <a:ext cx="161504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 dirty="0">
                  <a:latin typeface="Calibri" panose="020F0502020204030204" pitchFamily="34" charset="0"/>
                  <a:cs typeface="Calibri" panose="020F0502020204030204" pitchFamily="34" charset="0"/>
                </a:rPr>
                <a:t>Outlook in 1.5oC Scenario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3B40737-B43A-41AE-8B73-6215070DD216}"/>
                </a:ext>
              </a:extLst>
            </p:cNvPr>
            <p:cNvSpPr txBox="1"/>
            <p:nvPr/>
          </p:nvSpPr>
          <p:spPr>
            <a:xfrm>
              <a:off x="7085270" y="1204130"/>
              <a:ext cx="177372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 dirty="0">
                  <a:latin typeface="Calibri" panose="020F0502020204030204" pitchFamily="34" charset="0"/>
                  <a:cs typeface="Calibri" panose="020F0502020204030204" pitchFamily="34" charset="0"/>
                </a:rPr>
                <a:t>Competitivenes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D680436-8D25-4EA3-BD7C-03C5CFAD20E4}"/>
                </a:ext>
              </a:extLst>
            </p:cNvPr>
            <p:cNvSpPr txBox="1"/>
            <p:nvPr/>
          </p:nvSpPr>
          <p:spPr>
            <a:xfrm>
              <a:off x="10164762" y="1065631"/>
              <a:ext cx="161504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 dirty="0">
                  <a:latin typeface="Calibri" panose="020F0502020204030204" pitchFamily="34" charset="0"/>
                  <a:cs typeface="Calibri" panose="020F0502020204030204" pitchFamily="34" charset="0"/>
                </a:rPr>
                <a:t>Recent Developments</a:t>
              </a:r>
            </a:p>
          </p:txBody>
        </p:sp>
      </p:grp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A599A6F-68AA-4454-8CB9-612B0D5297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3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A599A6F-68AA-4454-8CB9-612B0D5297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B6BB9B65-706C-4C1D-8323-D0C0B47CDD28}"/>
              </a:ext>
            </a:extLst>
          </p:cNvPr>
          <p:cNvSpPr txBox="1">
            <a:spLocks/>
          </p:cNvSpPr>
          <p:nvPr/>
        </p:nvSpPr>
        <p:spPr bwMode="auto">
          <a:xfrm>
            <a:off x="437577" y="75791"/>
            <a:ext cx="9036067" cy="842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>
              <a:defRPr sz="2600" b="1">
                <a:solidFill>
                  <a:srgbClr val="002060"/>
                </a:solidFill>
                <a:latin typeface="+mn-lt"/>
                <a:cs typeface="+mj-cs"/>
              </a:defRPr>
            </a:lvl1pPr>
            <a:lvl2pPr>
              <a:defRPr sz="2700" b="1">
                <a:solidFill>
                  <a:srgbClr val="0872A6"/>
                </a:solidFill>
                <a:latin typeface="ITC Avant Garde Gothic" charset="0"/>
                <a:cs typeface="Arial" charset="0"/>
              </a:defRPr>
            </a:lvl2pPr>
            <a:lvl3pPr>
              <a:defRPr sz="2700" b="1">
                <a:solidFill>
                  <a:srgbClr val="0872A6"/>
                </a:solidFill>
                <a:latin typeface="ITC Avant Garde Gothic" charset="0"/>
                <a:cs typeface="Arial" charset="0"/>
              </a:defRPr>
            </a:lvl3pPr>
            <a:lvl4pPr>
              <a:defRPr sz="2700" b="1">
                <a:solidFill>
                  <a:srgbClr val="0872A6"/>
                </a:solidFill>
                <a:latin typeface="ITC Avant Garde Gothic" charset="0"/>
                <a:cs typeface="Arial" charset="0"/>
              </a:defRPr>
            </a:lvl4pPr>
            <a:lvl5pPr>
              <a:defRPr sz="2700" b="1">
                <a:solidFill>
                  <a:srgbClr val="0872A6"/>
                </a:solidFill>
                <a:latin typeface="ITC Avant Garde Gothic" charset="0"/>
                <a:cs typeface="Arial" charset="0"/>
              </a:defRPr>
            </a:lvl5pPr>
            <a:lvl6pPr marL="511761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6pPr>
            <a:lvl7pPr marL="1023523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7pPr>
            <a:lvl8pPr marL="1535285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8pPr>
            <a:lvl9pPr marL="2047046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GB" sz="2800" dirty="0">
                <a:solidFill>
                  <a:srgbClr val="0872A6"/>
                </a:solidFill>
                <a:latin typeface="ITC Avant Garde Gothic" pitchFamily="34" charset="0"/>
              </a:rPr>
              <a:t>Floating PV Market</a:t>
            </a:r>
          </a:p>
        </p:txBody>
      </p:sp>
    </p:spTree>
    <p:extLst>
      <p:ext uri="{BB962C8B-B14F-4D97-AF65-F5344CB8AC3E}">
        <p14:creationId xmlns:p14="http://schemas.microsoft.com/office/powerpoint/2010/main" val="37615294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A7FF17-26B8-4214-B81C-96992E0E96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F40C168-814B-4796-9FE0-A5C71BEDF02F}" type="slidenum">
              <a:rPr lang="de-DE" altLang="en-US" smtClean="0"/>
              <a:pPr>
                <a:defRPr/>
              </a:pPr>
              <a:t>8</a:t>
            </a:fld>
            <a:endParaRPr lang="de-DE" alt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79390E-585C-4F71-8BF6-51A8C05BDA1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592" y="1074740"/>
            <a:ext cx="3528871" cy="2354260"/>
          </a:xfrm>
          <a:custGeom>
            <a:avLst/>
            <a:gdLst/>
            <a:ahLst/>
            <a:cxnLst/>
            <a:rect l="l" t="t" r="r" b="b"/>
            <a:pathLst>
              <a:path w="3458367" h="3476265">
                <a:moveTo>
                  <a:pt x="549716" y="15"/>
                </a:moveTo>
                <a:cubicBezTo>
                  <a:pt x="557611" y="271"/>
                  <a:pt x="565778" y="3856"/>
                  <a:pt x="573176" y="4995"/>
                </a:cubicBezTo>
                <a:cubicBezTo>
                  <a:pt x="736504" y="30493"/>
                  <a:pt x="899830" y="58040"/>
                  <a:pt x="1063336" y="82398"/>
                </a:cubicBezTo>
                <a:cubicBezTo>
                  <a:pt x="1216195" y="105163"/>
                  <a:pt x="1370136" y="110398"/>
                  <a:pt x="1523717" y="122237"/>
                </a:cubicBezTo>
                <a:cubicBezTo>
                  <a:pt x="1709602" y="136580"/>
                  <a:pt x="1895127" y="156841"/>
                  <a:pt x="2079929" y="188711"/>
                </a:cubicBezTo>
                <a:cubicBezTo>
                  <a:pt x="2208244" y="211023"/>
                  <a:pt x="2337823" y="226502"/>
                  <a:pt x="2467943" y="208745"/>
                </a:cubicBezTo>
                <a:cubicBezTo>
                  <a:pt x="2474439" y="207834"/>
                  <a:pt x="2481839" y="204876"/>
                  <a:pt x="2487253" y="207834"/>
                </a:cubicBezTo>
                <a:cubicBezTo>
                  <a:pt x="2550419" y="241073"/>
                  <a:pt x="2619357" y="217168"/>
                  <a:pt x="2684869" y="238113"/>
                </a:cubicBezTo>
                <a:cubicBezTo>
                  <a:pt x="2668085" y="318930"/>
                  <a:pt x="2596077" y="312327"/>
                  <a:pt x="2555471" y="368331"/>
                </a:cubicBezTo>
                <a:cubicBezTo>
                  <a:pt x="2621704" y="390639"/>
                  <a:pt x="2681259" y="413178"/>
                  <a:pt x="2741717" y="430023"/>
                </a:cubicBezTo>
                <a:cubicBezTo>
                  <a:pt x="2805785" y="447780"/>
                  <a:pt x="2860106" y="495816"/>
                  <a:pt x="2922728" y="517216"/>
                </a:cubicBezTo>
                <a:cubicBezTo>
                  <a:pt x="2936085" y="521769"/>
                  <a:pt x="2952146" y="537704"/>
                  <a:pt x="2956838" y="553184"/>
                </a:cubicBezTo>
                <a:cubicBezTo>
                  <a:pt x="2971997" y="603269"/>
                  <a:pt x="3274647" y="743732"/>
                  <a:pt x="3238914" y="788350"/>
                </a:cubicBezTo>
                <a:cubicBezTo>
                  <a:pt x="3224116" y="806791"/>
                  <a:pt x="3204986" y="819994"/>
                  <a:pt x="3184953" y="838207"/>
                </a:cubicBezTo>
                <a:cubicBezTo>
                  <a:pt x="3215093" y="872582"/>
                  <a:pt x="3249020" y="887608"/>
                  <a:pt x="3285115" y="897852"/>
                </a:cubicBezTo>
                <a:cubicBezTo>
                  <a:pt x="3295944" y="901039"/>
                  <a:pt x="3306591" y="907413"/>
                  <a:pt x="3307674" y="922894"/>
                </a:cubicBezTo>
                <a:cubicBezTo>
                  <a:pt x="3308757" y="939056"/>
                  <a:pt x="3297748" y="945429"/>
                  <a:pt x="3288544" y="952944"/>
                </a:cubicBezTo>
                <a:cubicBezTo>
                  <a:pt x="3275731" y="963415"/>
                  <a:pt x="3263278" y="972523"/>
                  <a:pt x="3247036" y="973888"/>
                </a:cubicBezTo>
                <a:cubicBezTo>
                  <a:pt x="3220325" y="975937"/>
                  <a:pt x="3207513" y="1005076"/>
                  <a:pt x="3191993" y="1026930"/>
                </a:cubicBezTo>
                <a:cubicBezTo>
                  <a:pt x="3183330" y="1039224"/>
                  <a:pt x="3178998" y="1064037"/>
                  <a:pt x="3194157" y="1068363"/>
                </a:cubicBezTo>
                <a:cubicBezTo>
                  <a:pt x="3230613" y="1078837"/>
                  <a:pt x="3227725" y="1109114"/>
                  <a:pt x="3226824" y="1143489"/>
                </a:cubicBezTo>
                <a:cubicBezTo>
                  <a:pt x="3225560" y="1186061"/>
                  <a:pt x="3204083" y="1205638"/>
                  <a:pt x="3177734" y="1222030"/>
                </a:cubicBezTo>
                <a:cubicBezTo>
                  <a:pt x="3168711" y="1227720"/>
                  <a:pt x="3155898" y="1227493"/>
                  <a:pt x="3152469" y="1245250"/>
                </a:cubicBezTo>
                <a:cubicBezTo>
                  <a:pt x="3167267" y="1262097"/>
                  <a:pt x="3185314" y="1248439"/>
                  <a:pt x="3201197" y="1253218"/>
                </a:cubicBezTo>
                <a:cubicBezTo>
                  <a:pt x="3214370" y="1257088"/>
                  <a:pt x="3236208" y="1255040"/>
                  <a:pt x="3218160" y="1286000"/>
                </a:cubicBezTo>
                <a:cubicBezTo>
                  <a:pt x="3212926" y="1294878"/>
                  <a:pt x="3219062" y="1301709"/>
                  <a:pt x="3225741" y="1302392"/>
                </a:cubicBezTo>
                <a:cubicBezTo>
                  <a:pt x="3279159" y="1309449"/>
                  <a:pt x="3254615" y="1372054"/>
                  <a:pt x="3271761" y="1405063"/>
                </a:cubicBezTo>
                <a:cubicBezTo>
                  <a:pt x="3276452" y="1414169"/>
                  <a:pt x="3271399" y="1429877"/>
                  <a:pt x="3263999" y="1433747"/>
                </a:cubicBezTo>
                <a:cubicBezTo>
                  <a:pt x="3216716" y="1459245"/>
                  <a:pt x="3210220" y="1520028"/>
                  <a:pt x="3187299" y="1572389"/>
                </a:cubicBezTo>
                <a:cubicBezTo>
                  <a:pt x="3212205" y="1593104"/>
                  <a:pt x="3241982" y="1597657"/>
                  <a:pt x="3268872" y="1611089"/>
                </a:cubicBezTo>
                <a:cubicBezTo>
                  <a:pt x="3296846" y="1625204"/>
                  <a:pt x="3296846" y="1635676"/>
                  <a:pt x="3273746" y="1676653"/>
                </a:cubicBezTo>
                <a:cubicBezTo>
                  <a:pt x="3333842" y="1685532"/>
                  <a:pt x="3333842" y="1685532"/>
                  <a:pt x="3315254" y="1749957"/>
                </a:cubicBezTo>
                <a:cubicBezTo>
                  <a:pt x="3365607" y="1755877"/>
                  <a:pt x="3398812" y="1786382"/>
                  <a:pt x="3406572" y="1853085"/>
                </a:cubicBezTo>
                <a:cubicBezTo>
                  <a:pt x="3410362" y="1885411"/>
                  <a:pt x="3433101" y="1900663"/>
                  <a:pt x="3458367" y="1922291"/>
                </a:cubicBezTo>
                <a:cubicBezTo>
                  <a:pt x="3426966" y="1943236"/>
                  <a:pt x="3405669" y="1986945"/>
                  <a:pt x="3369034" y="1940730"/>
                </a:cubicBezTo>
                <a:cubicBezTo>
                  <a:pt x="3355680" y="1923885"/>
                  <a:pt x="3356941" y="1945284"/>
                  <a:pt x="3355138" y="1951430"/>
                </a:cubicBezTo>
                <a:cubicBezTo>
                  <a:pt x="3350807" y="1966455"/>
                  <a:pt x="3359830" y="1976472"/>
                  <a:pt x="3365786" y="1987854"/>
                </a:cubicBezTo>
                <a:cubicBezTo>
                  <a:pt x="3371561" y="1999237"/>
                  <a:pt x="3378420" y="2011302"/>
                  <a:pt x="3380043" y="2024054"/>
                </a:cubicBezTo>
                <a:cubicBezTo>
                  <a:pt x="3381125" y="2032931"/>
                  <a:pt x="3375892" y="2045905"/>
                  <a:pt x="3370117" y="2052509"/>
                </a:cubicBezTo>
                <a:cubicBezTo>
                  <a:pt x="3339797" y="2087340"/>
                  <a:pt x="3357844" y="2165652"/>
                  <a:pt x="3300454" y="2175670"/>
                </a:cubicBezTo>
                <a:cubicBezTo>
                  <a:pt x="3274647" y="2180221"/>
                  <a:pt x="3262195" y="2208906"/>
                  <a:pt x="3243246" y="2224614"/>
                </a:cubicBezTo>
                <a:cubicBezTo>
                  <a:pt x="3177374" y="2279478"/>
                  <a:pt x="3133338" y="2350051"/>
                  <a:pt x="3112946" y="2447031"/>
                </a:cubicBezTo>
                <a:cubicBezTo>
                  <a:pt x="3107352" y="2473894"/>
                  <a:pt x="3085875" y="2495522"/>
                  <a:pt x="3071979" y="2519197"/>
                </a:cubicBezTo>
                <a:cubicBezTo>
                  <a:pt x="3078657" y="2536499"/>
                  <a:pt x="3115112" y="2499164"/>
                  <a:pt x="3102298" y="2544694"/>
                </a:cubicBezTo>
                <a:cubicBezTo>
                  <a:pt x="3092553" y="2578843"/>
                  <a:pt x="3067647" y="2600014"/>
                  <a:pt x="3044185" y="2620276"/>
                </a:cubicBezTo>
                <a:cubicBezTo>
                  <a:pt x="3017476" y="2643268"/>
                  <a:pt x="2987879" y="2661708"/>
                  <a:pt x="2975787" y="2704279"/>
                </a:cubicBezTo>
                <a:cubicBezTo>
                  <a:pt x="2973260" y="2713386"/>
                  <a:pt x="2965140" y="2722947"/>
                  <a:pt x="2957921" y="2726591"/>
                </a:cubicBezTo>
                <a:cubicBezTo>
                  <a:pt x="2581458" y="3475797"/>
                  <a:pt x="1654740" y="3480805"/>
                  <a:pt x="1547901" y="3475568"/>
                </a:cubicBezTo>
                <a:cubicBezTo>
                  <a:pt x="1418503" y="3468966"/>
                  <a:pt x="1296143" y="3422753"/>
                  <a:pt x="1176132" y="3365156"/>
                </a:cubicBezTo>
                <a:cubicBezTo>
                  <a:pt x="1125418" y="3340797"/>
                  <a:pt x="1078316" y="3306195"/>
                  <a:pt x="1029045" y="3279332"/>
                </a:cubicBezTo>
                <a:cubicBezTo>
                  <a:pt x="961009" y="3242223"/>
                  <a:pt x="908492" y="3171424"/>
                  <a:pt x="840634" y="3141601"/>
                </a:cubicBezTo>
                <a:cubicBezTo>
                  <a:pt x="770793" y="3110867"/>
                  <a:pt x="711057" y="3054638"/>
                  <a:pt x="639229" y="3030734"/>
                </a:cubicBezTo>
                <a:cubicBezTo>
                  <a:pt x="601330" y="3017985"/>
                  <a:pt x="564695" y="2994993"/>
                  <a:pt x="570649" y="2929200"/>
                </a:cubicBezTo>
                <a:cubicBezTo>
                  <a:pt x="572274" y="2910532"/>
                  <a:pt x="562349" y="2895282"/>
                  <a:pt x="546647" y="2900745"/>
                </a:cubicBezTo>
                <a:cubicBezTo>
                  <a:pt x="516690" y="2910989"/>
                  <a:pt x="503154" y="2883898"/>
                  <a:pt x="486550" y="2863636"/>
                </a:cubicBezTo>
                <a:cubicBezTo>
                  <a:pt x="456953" y="2827667"/>
                  <a:pt x="428801" y="2789422"/>
                  <a:pt x="381697" y="2783503"/>
                </a:cubicBezTo>
                <a:cubicBezTo>
                  <a:pt x="390720" y="2755272"/>
                  <a:pt x="406060" y="2759371"/>
                  <a:pt x="420137" y="2765290"/>
                </a:cubicBezTo>
                <a:cubicBezTo>
                  <a:pt x="457133" y="2780772"/>
                  <a:pt x="493769" y="2798300"/>
                  <a:pt x="530765" y="2813781"/>
                </a:cubicBezTo>
                <a:cubicBezTo>
                  <a:pt x="554948" y="2823799"/>
                  <a:pt x="578952" y="2837912"/>
                  <a:pt x="611257" y="2826755"/>
                </a:cubicBezTo>
                <a:cubicBezTo>
                  <a:pt x="583463" y="2769843"/>
                  <a:pt x="536180" y="2759598"/>
                  <a:pt x="497920" y="2742071"/>
                </a:cubicBezTo>
                <a:cubicBezTo>
                  <a:pt x="450096" y="2719988"/>
                  <a:pt x="421942" y="2678326"/>
                  <a:pt x="388193" y="2631885"/>
                </a:cubicBezTo>
                <a:cubicBezTo>
                  <a:pt x="423386" y="2620730"/>
                  <a:pt x="445223" y="2654879"/>
                  <a:pt x="472834" y="2653056"/>
                </a:cubicBezTo>
                <a:cubicBezTo>
                  <a:pt x="474279" y="2647140"/>
                  <a:pt x="476804" y="2638488"/>
                  <a:pt x="476444" y="2638259"/>
                </a:cubicBezTo>
                <a:cubicBezTo>
                  <a:pt x="431326" y="2612763"/>
                  <a:pt x="410211" y="2564956"/>
                  <a:pt x="403173" y="2507131"/>
                </a:cubicBezTo>
                <a:cubicBezTo>
                  <a:pt x="399563" y="2477310"/>
                  <a:pt x="383140" y="2467976"/>
                  <a:pt x="366897" y="2454316"/>
                </a:cubicBezTo>
                <a:cubicBezTo>
                  <a:pt x="310230" y="2405826"/>
                  <a:pt x="250314" y="2361890"/>
                  <a:pt x="203752" y="2295188"/>
                </a:cubicBezTo>
                <a:cubicBezTo>
                  <a:pt x="257532" y="2304066"/>
                  <a:pt x="300665" y="2347547"/>
                  <a:pt x="358597" y="2366215"/>
                </a:cubicBezTo>
                <a:cubicBezTo>
                  <a:pt x="312577" y="2292910"/>
                  <a:pt x="253020" y="2255803"/>
                  <a:pt x="198698" y="2211409"/>
                </a:cubicBezTo>
                <a:cubicBezTo>
                  <a:pt x="173974" y="2191149"/>
                  <a:pt x="151055" y="2165197"/>
                  <a:pt x="121097" y="2154269"/>
                </a:cubicBezTo>
                <a:cubicBezTo>
                  <a:pt x="110448" y="2150400"/>
                  <a:pt x="92943" y="2142204"/>
                  <a:pt x="101425" y="2120577"/>
                </a:cubicBezTo>
                <a:cubicBezTo>
                  <a:pt x="108643" y="2102593"/>
                  <a:pt x="122900" y="2108055"/>
                  <a:pt x="135895" y="2113292"/>
                </a:cubicBezTo>
                <a:cubicBezTo>
                  <a:pt x="167116" y="2126269"/>
                  <a:pt x="199421" y="2126495"/>
                  <a:pt x="241652" y="2126269"/>
                </a:cubicBezTo>
                <a:cubicBezTo>
                  <a:pt x="206279" y="2066851"/>
                  <a:pt x="141489" y="2084608"/>
                  <a:pt x="111170" y="2022231"/>
                </a:cubicBezTo>
                <a:cubicBezTo>
                  <a:pt x="149069" y="2011302"/>
                  <a:pt x="178305" y="2033841"/>
                  <a:pt x="208987" y="2038166"/>
                </a:cubicBezTo>
                <a:cubicBezTo>
                  <a:pt x="236777" y="2042036"/>
                  <a:pt x="243636" y="2031565"/>
                  <a:pt x="237139" y="1997188"/>
                </a:cubicBezTo>
                <a:cubicBezTo>
                  <a:pt x="227034" y="1943690"/>
                  <a:pt x="242193" y="1916371"/>
                  <a:pt x="282618" y="1930941"/>
                </a:cubicBezTo>
                <a:cubicBezTo>
                  <a:pt x="320155" y="1944601"/>
                  <a:pt x="324125" y="1924568"/>
                  <a:pt x="314019" y="1894062"/>
                </a:cubicBezTo>
                <a:cubicBezTo>
                  <a:pt x="299582" y="1849671"/>
                  <a:pt x="316004" y="1815295"/>
                  <a:pt x="327194" y="1777960"/>
                </a:cubicBezTo>
                <a:cubicBezTo>
                  <a:pt x="344339" y="1721045"/>
                  <a:pt x="337121" y="1693272"/>
                  <a:pt x="300123" y="1650929"/>
                </a:cubicBezTo>
                <a:cubicBezTo>
                  <a:pt x="279370" y="1627251"/>
                  <a:pt x="256992" y="1607219"/>
                  <a:pt x="226852" y="1586731"/>
                </a:cubicBezTo>
                <a:cubicBezTo>
                  <a:pt x="296334" y="1575576"/>
                  <a:pt x="223423" y="1538013"/>
                  <a:pt x="247968" y="1514564"/>
                </a:cubicBezTo>
                <a:cubicBezTo>
                  <a:pt x="297056" y="1505003"/>
                  <a:pt x="337121" y="1579673"/>
                  <a:pt x="403895" y="1558274"/>
                </a:cubicBezTo>
                <a:cubicBezTo>
                  <a:pt x="321420" y="1493619"/>
                  <a:pt x="230281" y="1472448"/>
                  <a:pt x="170546" y="1386396"/>
                </a:cubicBezTo>
                <a:cubicBezTo>
                  <a:pt x="184261" y="1366817"/>
                  <a:pt x="197977" y="1385030"/>
                  <a:pt x="209707" y="1377746"/>
                </a:cubicBezTo>
                <a:cubicBezTo>
                  <a:pt x="209346" y="1373192"/>
                  <a:pt x="210250" y="1366362"/>
                  <a:pt x="208083" y="1364314"/>
                </a:cubicBezTo>
                <a:cubicBezTo>
                  <a:pt x="163508" y="1317416"/>
                  <a:pt x="162784" y="1316279"/>
                  <a:pt x="210610" y="1281675"/>
                </a:cubicBezTo>
                <a:cubicBezTo>
                  <a:pt x="227394" y="1269609"/>
                  <a:pt x="225950" y="1258909"/>
                  <a:pt x="217108" y="1243657"/>
                </a:cubicBezTo>
                <a:cubicBezTo>
                  <a:pt x="210790" y="1232957"/>
                  <a:pt x="203211" y="1223395"/>
                  <a:pt x="206820" y="1199947"/>
                </a:cubicBezTo>
                <a:cubicBezTo>
                  <a:pt x="232988" y="1229998"/>
                  <a:pt x="359499" y="1220208"/>
                  <a:pt x="381877" y="1217021"/>
                </a:cubicBezTo>
                <a:cubicBezTo>
                  <a:pt x="406963" y="1213607"/>
                  <a:pt x="431688" y="1199037"/>
                  <a:pt x="458035" y="1207003"/>
                </a:cubicBezTo>
                <a:cubicBezTo>
                  <a:pt x="479150" y="1213381"/>
                  <a:pt x="576966" y="1275073"/>
                  <a:pt x="590863" y="1204273"/>
                </a:cubicBezTo>
                <a:cubicBezTo>
                  <a:pt x="591585" y="1200858"/>
                  <a:pt x="631107" y="1208826"/>
                  <a:pt x="652403" y="1212696"/>
                </a:cubicBezTo>
                <a:cubicBezTo>
                  <a:pt x="671172" y="1215883"/>
                  <a:pt x="692288" y="1229998"/>
                  <a:pt x="704920" y="1201769"/>
                </a:cubicBezTo>
                <a:cubicBezTo>
                  <a:pt x="712320" y="1185150"/>
                  <a:pt x="681820" y="1153051"/>
                  <a:pt x="654569" y="1150320"/>
                </a:cubicBezTo>
                <a:cubicBezTo>
                  <a:pt x="630926" y="1147814"/>
                  <a:pt x="606202" y="1144172"/>
                  <a:pt x="583643" y="1151001"/>
                </a:cubicBezTo>
                <a:cubicBezTo>
                  <a:pt x="555852" y="1159198"/>
                  <a:pt x="540873" y="1145995"/>
                  <a:pt x="533111" y="1117538"/>
                </a:cubicBezTo>
                <a:cubicBezTo>
                  <a:pt x="524450" y="1086122"/>
                  <a:pt x="507845" y="1071550"/>
                  <a:pt x="484926" y="1056980"/>
                </a:cubicBezTo>
                <a:cubicBezTo>
                  <a:pt x="429340" y="1021696"/>
                  <a:pt x="375921" y="980946"/>
                  <a:pt x="314922" y="960456"/>
                </a:cubicBezTo>
                <a:cubicBezTo>
                  <a:pt x="302830" y="956358"/>
                  <a:pt x="289476" y="950894"/>
                  <a:pt x="283881" y="923805"/>
                </a:cubicBezTo>
                <a:cubicBezTo>
                  <a:pt x="449013" y="964326"/>
                  <a:pt x="599526" y="1069958"/>
                  <a:pt x="769890" y="1063811"/>
                </a:cubicBezTo>
                <a:cubicBezTo>
                  <a:pt x="723329" y="1030346"/>
                  <a:pt x="669369" y="1028524"/>
                  <a:pt x="619738" y="1005076"/>
                </a:cubicBezTo>
                <a:cubicBezTo>
                  <a:pt x="654930" y="987546"/>
                  <a:pt x="687956" y="1005759"/>
                  <a:pt x="721344" y="1015777"/>
                </a:cubicBezTo>
                <a:cubicBezTo>
                  <a:pt x="749317" y="1023970"/>
                  <a:pt x="774583" y="1025337"/>
                  <a:pt x="777650" y="976393"/>
                </a:cubicBezTo>
                <a:cubicBezTo>
                  <a:pt x="776566" y="973205"/>
                  <a:pt x="776747" y="969107"/>
                  <a:pt x="776929" y="965238"/>
                </a:cubicBezTo>
                <a:cubicBezTo>
                  <a:pt x="767542" y="944976"/>
                  <a:pt x="752926" y="934504"/>
                  <a:pt x="735601" y="928584"/>
                </a:cubicBezTo>
                <a:cubicBezTo>
                  <a:pt x="725133" y="924942"/>
                  <a:pt x="711237" y="919478"/>
                  <a:pt x="711416" y="904909"/>
                </a:cubicBezTo>
                <a:cubicBezTo>
                  <a:pt x="711958" y="850955"/>
                  <a:pt x="678571" y="835246"/>
                  <a:pt x="645185" y="819539"/>
                </a:cubicBezTo>
                <a:cubicBezTo>
                  <a:pt x="663773" y="792676"/>
                  <a:pt x="678391" y="812481"/>
                  <a:pt x="692468" y="810433"/>
                </a:cubicBezTo>
                <a:cubicBezTo>
                  <a:pt x="701672" y="809067"/>
                  <a:pt x="709973" y="806563"/>
                  <a:pt x="709973" y="792676"/>
                </a:cubicBezTo>
                <a:cubicBezTo>
                  <a:pt x="710154" y="781065"/>
                  <a:pt x="705822" y="767861"/>
                  <a:pt x="696799" y="767635"/>
                </a:cubicBezTo>
                <a:cubicBezTo>
                  <a:pt x="640312" y="765585"/>
                  <a:pt x="609090" y="690914"/>
                  <a:pt x="550437" y="690687"/>
                </a:cubicBezTo>
                <a:cubicBezTo>
                  <a:pt x="515425" y="690687"/>
                  <a:pt x="568666" y="648572"/>
                  <a:pt x="539068" y="631042"/>
                </a:cubicBezTo>
                <a:cubicBezTo>
                  <a:pt x="532570" y="627171"/>
                  <a:pt x="556032" y="621254"/>
                  <a:pt x="566500" y="622164"/>
                </a:cubicBezTo>
                <a:cubicBezTo>
                  <a:pt x="576786" y="623074"/>
                  <a:pt x="585990" y="634229"/>
                  <a:pt x="598443" y="626261"/>
                </a:cubicBezTo>
                <a:cubicBezTo>
                  <a:pt x="605300" y="597806"/>
                  <a:pt x="587615" y="587332"/>
                  <a:pt x="572996" y="579365"/>
                </a:cubicBezTo>
                <a:cubicBezTo>
                  <a:pt x="539247" y="560925"/>
                  <a:pt x="506402" y="538615"/>
                  <a:pt x="469405" y="532013"/>
                </a:cubicBezTo>
                <a:cubicBezTo>
                  <a:pt x="456232" y="529737"/>
                  <a:pt x="488355" y="499231"/>
                  <a:pt x="494671" y="488532"/>
                </a:cubicBezTo>
                <a:cubicBezTo>
                  <a:pt x="345782" y="376071"/>
                  <a:pt x="166756" y="381762"/>
                  <a:pt x="0" y="290928"/>
                </a:cubicBezTo>
                <a:cubicBezTo>
                  <a:pt x="36817" y="273173"/>
                  <a:pt x="63887" y="286148"/>
                  <a:pt x="88973" y="288880"/>
                </a:cubicBezTo>
                <a:cubicBezTo>
                  <a:pt x="151595" y="295708"/>
                  <a:pt x="213498" y="309822"/>
                  <a:pt x="275940" y="318246"/>
                </a:cubicBezTo>
                <a:cubicBezTo>
                  <a:pt x="306620" y="322344"/>
                  <a:pt x="335134" y="337824"/>
                  <a:pt x="369424" y="313239"/>
                </a:cubicBezTo>
                <a:cubicBezTo>
                  <a:pt x="392343" y="296847"/>
                  <a:pt x="428980" y="314604"/>
                  <a:pt x="457133" y="329174"/>
                </a:cubicBezTo>
                <a:cubicBezTo>
                  <a:pt x="480414" y="341238"/>
                  <a:pt x="502612" y="344425"/>
                  <a:pt x="533474" y="329174"/>
                </a:cubicBezTo>
                <a:cubicBezTo>
                  <a:pt x="505501" y="319841"/>
                  <a:pt x="484023" y="311645"/>
                  <a:pt x="462006" y="305953"/>
                </a:cubicBezTo>
                <a:cubicBezTo>
                  <a:pt x="444501" y="301400"/>
                  <a:pt x="486189" y="282960"/>
                  <a:pt x="507484" y="285237"/>
                </a:cubicBezTo>
                <a:cubicBezTo>
                  <a:pt x="537263" y="288423"/>
                  <a:pt x="520479" y="276586"/>
                  <a:pt x="515425" y="260195"/>
                </a:cubicBezTo>
                <a:cubicBezTo>
                  <a:pt x="510012" y="242665"/>
                  <a:pt x="526074" y="237203"/>
                  <a:pt x="536180" y="240844"/>
                </a:cubicBezTo>
                <a:cubicBezTo>
                  <a:pt x="574980" y="255187"/>
                  <a:pt x="613602" y="229917"/>
                  <a:pt x="653668" y="250407"/>
                </a:cubicBezTo>
                <a:cubicBezTo>
                  <a:pt x="643561" y="199867"/>
                  <a:pt x="621723" y="177784"/>
                  <a:pt x="576064" y="170726"/>
                </a:cubicBezTo>
                <a:cubicBezTo>
                  <a:pt x="558919" y="167996"/>
                  <a:pt x="541053" y="172093"/>
                  <a:pt x="526254" y="157522"/>
                </a:cubicBezTo>
                <a:cubicBezTo>
                  <a:pt x="517771" y="149101"/>
                  <a:pt x="508207" y="139084"/>
                  <a:pt x="514884" y="123603"/>
                </a:cubicBezTo>
                <a:cubicBezTo>
                  <a:pt x="519577" y="112674"/>
                  <a:pt x="529684" y="112674"/>
                  <a:pt x="537985" y="116318"/>
                </a:cubicBezTo>
                <a:cubicBezTo>
                  <a:pt x="575162" y="132483"/>
                  <a:pt x="613963" y="138400"/>
                  <a:pt x="652764" y="144320"/>
                </a:cubicBezTo>
                <a:cubicBezTo>
                  <a:pt x="658720" y="145230"/>
                  <a:pt x="665397" y="148191"/>
                  <a:pt x="672075" y="133164"/>
                </a:cubicBezTo>
                <a:cubicBezTo>
                  <a:pt x="599526" y="108805"/>
                  <a:pt x="530585" y="74202"/>
                  <a:pt x="456051" y="60770"/>
                </a:cubicBezTo>
                <a:cubicBezTo>
                  <a:pt x="457133" y="54397"/>
                  <a:pt x="458215" y="48022"/>
                  <a:pt x="459299" y="41649"/>
                </a:cubicBezTo>
                <a:cubicBezTo>
                  <a:pt x="517591" y="50753"/>
                  <a:pt x="575884" y="59859"/>
                  <a:pt x="649515" y="71243"/>
                </a:cubicBezTo>
                <a:cubicBezTo>
                  <a:pt x="604218" y="35045"/>
                  <a:pt x="561446" y="47111"/>
                  <a:pt x="527879" y="15013"/>
                </a:cubicBezTo>
                <a:cubicBezTo>
                  <a:pt x="534195" y="2833"/>
                  <a:pt x="541820" y="-241"/>
                  <a:pt x="549716" y="15"/>
                </a:cubicBezTo>
                <a:close/>
              </a:path>
            </a:pathLst>
          </a:cu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37D3764-4B47-4AC0-8BD4-BBF5EDA270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9903" y="1069754"/>
            <a:ext cx="6100528" cy="2287698"/>
          </a:xfrm>
          <a:custGeom>
            <a:avLst/>
            <a:gdLst/>
            <a:ahLst/>
            <a:cxnLst/>
            <a:rect l="l" t="t" r="r" b="b"/>
            <a:pathLst>
              <a:path w="4579876" h="3536502">
                <a:moveTo>
                  <a:pt x="457312" y="0"/>
                </a:moveTo>
                <a:lnTo>
                  <a:pt x="4579876" y="0"/>
                </a:lnTo>
                <a:lnTo>
                  <a:pt x="4579876" y="3057029"/>
                </a:lnTo>
                <a:lnTo>
                  <a:pt x="4508441" y="3086568"/>
                </a:lnTo>
                <a:cubicBezTo>
                  <a:pt x="4391572" y="3126663"/>
                  <a:pt x="4301124" y="3221848"/>
                  <a:pt x="4183947" y="3271738"/>
                </a:cubicBezTo>
                <a:cubicBezTo>
                  <a:pt x="4099090" y="3307854"/>
                  <a:pt x="4017967" y="3354374"/>
                  <a:pt x="3930625" y="3387123"/>
                </a:cubicBezTo>
                <a:cubicBezTo>
                  <a:pt x="3723932" y="3464557"/>
                  <a:pt x="3513195" y="3526689"/>
                  <a:pt x="3290337" y="3535564"/>
                </a:cubicBezTo>
                <a:cubicBezTo>
                  <a:pt x="3106332" y="3542605"/>
                  <a:pt x="1510274" y="3535872"/>
                  <a:pt x="861903" y="2528615"/>
                </a:cubicBezTo>
                <a:cubicBezTo>
                  <a:pt x="849470" y="2523717"/>
                  <a:pt x="835485" y="2510862"/>
                  <a:pt x="831133" y="2498619"/>
                </a:cubicBezTo>
                <a:cubicBezTo>
                  <a:pt x="810307" y="2441385"/>
                  <a:pt x="759333" y="2416594"/>
                  <a:pt x="713333" y="2385682"/>
                </a:cubicBezTo>
                <a:cubicBezTo>
                  <a:pt x="672925" y="2358442"/>
                  <a:pt x="630030" y="2329978"/>
                  <a:pt x="613246" y="2284067"/>
                </a:cubicBezTo>
                <a:cubicBezTo>
                  <a:pt x="591179" y="2222855"/>
                  <a:pt x="653963" y="2273050"/>
                  <a:pt x="665465" y="2249789"/>
                </a:cubicBezTo>
                <a:cubicBezTo>
                  <a:pt x="641532" y="2217960"/>
                  <a:pt x="604543" y="2188882"/>
                  <a:pt x="594908" y="2152767"/>
                </a:cubicBezTo>
                <a:cubicBezTo>
                  <a:pt x="559787" y="2022383"/>
                  <a:pt x="483946" y="1927503"/>
                  <a:pt x="370497" y="1853742"/>
                </a:cubicBezTo>
                <a:cubicBezTo>
                  <a:pt x="337861" y="1832624"/>
                  <a:pt x="316415" y="1794059"/>
                  <a:pt x="271969" y="1787940"/>
                </a:cubicBezTo>
                <a:cubicBezTo>
                  <a:pt x="173127" y="1774472"/>
                  <a:pt x="204209" y="1669186"/>
                  <a:pt x="151990" y="1622358"/>
                </a:cubicBezTo>
                <a:cubicBezTo>
                  <a:pt x="142044" y="1613481"/>
                  <a:pt x="133031" y="1596037"/>
                  <a:pt x="134895" y="1584102"/>
                </a:cubicBezTo>
                <a:cubicBezTo>
                  <a:pt x="137691" y="1566959"/>
                  <a:pt x="149504" y="1550739"/>
                  <a:pt x="159450" y="1535435"/>
                </a:cubicBezTo>
                <a:cubicBezTo>
                  <a:pt x="169708" y="1520133"/>
                  <a:pt x="185247" y="1506664"/>
                  <a:pt x="177788" y="1486465"/>
                </a:cubicBezTo>
                <a:cubicBezTo>
                  <a:pt x="174683" y="1478202"/>
                  <a:pt x="176855" y="1449432"/>
                  <a:pt x="153856" y="1472079"/>
                </a:cubicBezTo>
                <a:cubicBezTo>
                  <a:pt x="90760" y="1534212"/>
                  <a:pt x="54082" y="1475449"/>
                  <a:pt x="0" y="1447289"/>
                </a:cubicBezTo>
                <a:cubicBezTo>
                  <a:pt x="43515" y="1418212"/>
                  <a:pt x="82677" y="1397707"/>
                  <a:pt x="89205" y="1354247"/>
                </a:cubicBezTo>
                <a:cubicBezTo>
                  <a:pt x="102570" y="1264569"/>
                  <a:pt x="159758" y="1223557"/>
                  <a:pt x="246479" y="1215599"/>
                </a:cubicBezTo>
                <a:cubicBezTo>
                  <a:pt x="214465" y="1128983"/>
                  <a:pt x="214465" y="1128983"/>
                  <a:pt x="317968" y="1117045"/>
                </a:cubicBezTo>
                <a:cubicBezTo>
                  <a:pt x="278183" y="1061955"/>
                  <a:pt x="278183" y="1047876"/>
                  <a:pt x="326362" y="1028900"/>
                </a:cubicBezTo>
                <a:cubicBezTo>
                  <a:pt x="372673" y="1010841"/>
                  <a:pt x="423957" y="1004720"/>
                  <a:pt x="466852" y="976870"/>
                </a:cubicBezTo>
                <a:cubicBezTo>
                  <a:pt x="427377" y="906475"/>
                  <a:pt x="416188" y="824756"/>
                  <a:pt x="334754" y="790475"/>
                </a:cubicBezTo>
                <a:cubicBezTo>
                  <a:pt x="322010" y="785272"/>
                  <a:pt x="313307" y="764154"/>
                  <a:pt x="321386" y="751912"/>
                </a:cubicBezTo>
                <a:cubicBezTo>
                  <a:pt x="350915" y="707534"/>
                  <a:pt x="308644" y="623365"/>
                  <a:pt x="400645" y="613877"/>
                </a:cubicBezTo>
                <a:cubicBezTo>
                  <a:pt x="412147" y="612959"/>
                  <a:pt x="422716" y="603776"/>
                  <a:pt x="413701" y="591839"/>
                </a:cubicBezTo>
                <a:cubicBezTo>
                  <a:pt x="382618" y="550216"/>
                  <a:pt x="420228" y="552969"/>
                  <a:pt x="442917" y="547767"/>
                </a:cubicBezTo>
                <a:cubicBezTo>
                  <a:pt x="470271" y="541341"/>
                  <a:pt x="501353" y="559703"/>
                  <a:pt x="526840" y="537055"/>
                </a:cubicBezTo>
                <a:cubicBezTo>
                  <a:pt x="520932" y="513181"/>
                  <a:pt x="498866" y="513487"/>
                  <a:pt x="483325" y="505836"/>
                </a:cubicBezTo>
                <a:cubicBezTo>
                  <a:pt x="437946" y="483799"/>
                  <a:pt x="400956" y="457479"/>
                  <a:pt x="398780" y="400243"/>
                </a:cubicBezTo>
                <a:cubicBezTo>
                  <a:pt x="397229" y="354028"/>
                  <a:pt x="392255" y="313323"/>
                  <a:pt x="455041" y="299242"/>
                </a:cubicBezTo>
                <a:cubicBezTo>
                  <a:pt x="481149" y="293426"/>
                  <a:pt x="473687" y="260067"/>
                  <a:pt x="458769" y="243538"/>
                </a:cubicBezTo>
                <a:cubicBezTo>
                  <a:pt x="432038" y="214157"/>
                  <a:pt x="409972" y="174981"/>
                  <a:pt x="363969" y="172227"/>
                </a:cubicBezTo>
                <a:cubicBezTo>
                  <a:pt x="335995" y="170391"/>
                  <a:pt x="314549" y="158146"/>
                  <a:pt x="292481" y="144069"/>
                </a:cubicBezTo>
                <a:cubicBezTo>
                  <a:pt x="276630" y="133966"/>
                  <a:pt x="257670" y="125398"/>
                  <a:pt x="259534" y="103668"/>
                </a:cubicBezTo>
                <a:cubicBezTo>
                  <a:pt x="261399" y="82855"/>
                  <a:pt x="279736" y="74286"/>
                  <a:pt x="298387" y="70001"/>
                </a:cubicBezTo>
                <a:cubicBezTo>
                  <a:pt x="345011" y="59672"/>
                  <a:pt x="389535" y="45726"/>
                  <a:pt x="430782" y="19902"/>
                </a:cubicBezTo>
                <a:close/>
              </a:path>
            </a:pathLst>
          </a:cu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37FA757-D649-4911-9C71-022854C5EA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513" y="4038929"/>
            <a:ext cx="3800180" cy="2137601"/>
          </a:xfrm>
          <a:custGeom>
            <a:avLst/>
            <a:gdLst/>
            <a:ahLst/>
            <a:cxnLst/>
            <a:rect l="l" t="t" r="r" b="b"/>
            <a:pathLst>
              <a:path w="3458367" h="3476265">
                <a:moveTo>
                  <a:pt x="549716" y="15"/>
                </a:moveTo>
                <a:cubicBezTo>
                  <a:pt x="557611" y="271"/>
                  <a:pt x="565778" y="3856"/>
                  <a:pt x="573176" y="4995"/>
                </a:cubicBezTo>
                <a:cubicBezTo>
                  <a:pt x="736504" y="30493"/>
                  <a:pt x="899830" y="58040"/>
                  <a:pt x="1063336" y="82398"/>
                </a:cubicBezTo>
                <a:cubicBezTo>
                  <a:pt x="1216195" y="105163"/>
                  <a:pt x="1370136" y="110398"/>
                  <a:pt x="1523717" y="122237"/>
                </a:cubicBezTo>
                <a:cubicBezTo>
                  <a:pt x="1709602" y="136580"/>
                  <a:pt x="1895127" y="156841"/>
                  <a:pt x="2079929" y="188711"/>
                </a:cubicBezTo>
                <a:cubicBezTo>
                  <a:pt x="2208244" y="211023"/>
                  <a:pt x="2337823" y="226502"/>
                  <a:pt x="2467943" y="208745"/>
                </a:cubicBezTo>
                <a:cubicBezTo>
                  <a:pt x="2474439" y="207834"/>
                  <a:pt x="2481839" y="204876"/>
                  <a:pt x="2487253" y="207834"/>
                </a:cubicBezTo>
                <a:cubicBezTo>
                  <a:pt x="2550419" y="241073"/>
                  <a:pt x="2619357" y="217168"/>
                  <a:pt x="2684869" y="238113"/>
                </a:cubicBezTo>
                <a:cubicBezTo>
                  <a:pt x="2668085" y="318930"/>
                  <a:pt x="2596077" y="312327"/>
                  <a:pt x="2555471" y="368331"/>
                </a:cubicBezTo>
                <a:cubicBezTo>
                  <a:pt x="2621704" y="390639"/>
                  <a:pt x="2681259" y="413178"/>
                  <a:pt x="2741717" y="430023"/>
                </a:cubicBezTo>
                <a:cubicBezTo>
                  <a:pt x="2805785" y="447780"/>
                  <a:pt x="2860106" y="495816"/>
                  <a:pt x="2922728" y="517216"/>
                </a:cubicBezTo>
                <a:cubicBezTo>
                  <a:pt x="2936085" y="521769"/>
                  <a:pt x="2952146" y="537704"/>
                  <a:pt x="2956838" y="553184"/>
                </a:cubicBezTo>
                <a:cubicBezTo>
                  <a:pt x="2971997" y="603269"/>
                  <a:pt x="3274647" y="743732"/>
                  <a:pt x="3238914" y="788350"/>
                </a:cubicBezTo>
                <a:cubicBezTo>
                  <a:pt x="3224116" y="806791"/>
                  <a:pt x="3204986" y="819994"/>
                  <a:pt x="3184953" y="838207"/>
                </a:cubicBezTo>
                <a:cubicBezTo>
                  <a:pt x="3215093" y="872582"/>
                  <a:pt x="3249020" y="887608"/>
                  <a:pt x="3285115" y="897852"/>
                </a:cubicBezTo>
                <a:cubicBezTo>
                  <a:pt x="3295944" y="901039"/>
                  <a:pt x="3306591" y="907413"/>
                  <a:pt x="3307674" y="922894"/>
                </a:cubicBezTo>
                <a:cubicBezTo>
                  <a:pt x="3308757" y="939056"/>
                  <a:pt x="3297748" y="945429"/>
                  <a:pt x="3288544" y="952944"/>
                </a:cubicBezTo>
                <a:cubicBezTo>
                  <a:pt x="3275731" y="963415"/>
                  <a:pt x="3263278" y="972523"/>
                  <a:pt x="3247036" y="973888"/>
                </a:cubicBezTo>
                <a:cubicBezTo>
                  <a:pt x="3220325" y="975937"/>
                  <a:pt x="3207513" y="1005076"/>
                  <a:pt x="3191993" y="1026930"/>
                </a:cubicBezTo>
                <a:cubicBezTo>
                  <a:pt x="3183330" y="1039224"/>
                  <a:pt x="3178998" y="1064037"/>
                  <a:pt x="3194157" y="1068363"/>
                </a:cubicBezTo>
                <a:cubicBezTo>
                  <a:pt x="3230613" y="1078837"/>
                  <a:pt x="3227725" y="1109114"/>
                  <a:pt x="3226824" y="1143489"/>
                </a:cubicBezTo>
                <a:cubicBezTo>
                  <a:pt x="3225560" y="1186061"/>
                  <a:pt x="3204083" y="1205638"/>
                  <a:pt x="3177734" y="1222030"/>
                </a:cubicBezTo>
                <a:cubicBezTo>
                  <a:pt x="3168711" y="1227720"/>
                  <a:pt x="3155898" y="1227493"/>
                  <a:pt x="3152469" y="1245250"/>
                </a:cubicBezTo>
                <a:cubicBezTo>
                  <a:pt x="3167267" y="1262097"/>
                  <a:pt x="3185314" y="1248439"/>
                  <a:pt x="3201197" y="1253218"/>
                </a:cubicBezTo>
                <a:cubicBezTo>
                  <a:pt x="3214370" y="1257088"/>
                  <a:pt x="3236208" y="1255040"/>
                  <a:pt x="3218160" y="1286000"/>
                </a:cubicBezTo>
                <a:cubicBezTo>
                  <a:pt x="3212926" y="1294878"/>
                  <a:pt x="3219062" y="1301709"/>
                  <a:pt x="3225741" y="1302392"/>
                </a:cubicBezTo>
                <a:cubicBezTo>
                  <a:pt x="3279159" y="1309449"/>
                  <a:pt x="3254615" y="1372054"/>
                  <a:pt x="3271761" y="1405063"/>
                </a:cubicBezTo>
                <a:cubicBezTo>
                  <a:pt x="3276452" y="1414169"/>
                  <a:pt x="3271399" y="1429877"/>
                  <a:pt x="3263999" y="1433747"/>
                </a:cubicBezTo>
                <a:cubicBezTo>
                  <a:pt x="3216716" y="1459245"/>
                  <a:pt x="3210220" y="1520028"/>
                  <a:pt x="3187299" y="1572389"/>
                </a:cubicBezTo>
                <a:cubicBezTo>
                  <a:pt x="3212205" y="1593104"/>
                  <a:pt x="3241982" y="1597657"/>
                  <a:pt x="3268872" y="1611089"/>
                </a:cubicBezTo>
                <a:cubicBezTo>
                  <a:pt x="3296846" y="1625204"/>
                  <a:pt x="3296846" y="1635676"/>
                  <a:pt x="3273746" y="1676653"/>
                </a:cubicBezTo>
                <a:cubicBezTo>
                  <a:pt x="3333842" y="1685532"/>
                  <a:pt x="3333842" y="1685532"/>
                  <a:pt x="3315254" y="1749957"/>
                </a:cubicBezTo>
                <a:cubicBezTo>
                  <a:pt x="3365607" y="1755877"/>
                  <a:pt x="3398812" y="1786382"/>
                  <a:pt x="3406572" y="1853085"/>
                </a:cubicBezTo>
                <a:cubicBezTo>
                  <a:pt x="3410362" y="1885411"/>
                  <a:pt x="3433101" y="1900663"/>
                  <a:pt x="3458367" y="1922291"/>
                </a:cubicBezTo>
                <a:cubicBezTo>
                  <a:pt x="3426966" y="1943236"/>
                  <a:pt x="3405669" y="1986945"/>
                  <a:pt x="3369034" y="1940730"/>
                </a:cubicBezTo>
                <a:cubicBezTo>
                  <a:pt x="3355680" y="1923885"/>
                  <a:pt x="3356941" y="1945284"/>
                  <a:pt x="3355138" y="1951430"/>
                </a:cubicBezTo>
                <a:cubicBezTo>
                  <a:pt x="3350807" y="1966455"/>
                  <a:pt x="3359830" y="1976472"/>
                  <a:pt x="3365786" y="1987854"/>
                </a:cubicBezTo>
                <a:cubicBezTo>
                  <a:pt x="3371561" y="1999237"/>
                  <a:pt x="3378420" y="2011302"/>
                  <a:pt x="3380043" y="2024054"/>
                </a:cubicBezTo>
                <a:cubicBezTo>
                  <a:pt x="3381125" y="2032931"/>
                  <a:pt x="3375892" y="2045905"/>
                  <a:pt x="3370117" y="2052509"/>
                </a:cubicBezTo>
                <a:cubicBezTo>
                  <a:pt x="3339797" y="2087340"/>
                  <a:pt x="3357844" y="2165652"/>
                  <a:pt x="3300454" y="2175670"/>
                </a:cubicBezTo>
                <a:cubicBezTo>
                  <a:pt x="3274647" y="2180221"/>
                  <a:pt x="3262195" y="2208906"/>
                  <a:pt x="3243246" y="2224614"/>
                </a:cubicBezTo>
                <a:cubicBezTo>
                  <a:pt x="3177374" y="2279478"/>
                  <a:pt x="3133338" y="2350051"/>
                  <a:pt x="3112946" y="2447031"/>
                </a:cubicBezTo>
                <a:cubicBezTo>
                  <a:pt x="3107352" y="2473894"/>
                  <a:pt x="3085875" y="2495522"/>
                  <a:pt x="3071979" y="2519197"/>
                </a:cubicBezTo>
                <a:cubicBezTo>
                  <a:pt x="3078657" y="2536499"/>
                  <a:pt x="3115112" y="2499164"/>
                  <a:pt x="3102298" y="2544694"/>
                </a:cubicBezTo>
                <a:cubicBezTo>
                  <a:pt x="3092553" y="2578843"/>
                  <a:pt x="3067647" y="2600014"/>
                  <a:pt x="3044185" y="2620276"/>
                </a:cubicBezTo>
                <a:cubicBezTo>
                  <a:pt x="3017476" y="2643268"/>
                  <a:pt x="2987879" y="2661708"/>
                  <a:pt x="2975787" y="2704279"/>
                </a:cubicBezTo>
                <a:cubicBezTo>
                  <a:pt x="2973260" y="2713386"/>
                  <a:pt x="2965140" y="2722947"/>
                  <a:pt x="2957921" y="2726591"/>
                </a:cubicBezTo>
                <a:cubicBezTo>
                  <a:pt x="2581458" y="3475797"/>
                  <a:pt x="1654740" y="3480805"/>
                  <a:pt x="1547901" y="3475568"/>
                </a:cubicBezTo>
                <a:cubicBezTo>
                  <a:pt x="1418503" y="3468966"/>
                  <a:pt x="1296143" y="3422753"/>
                  <a:pt x="1176132" y="3365156"/>
                </a:cubicBezTo>
                <a:cubicBezTo>
                  <a:pt x="1125418" y="3340797"/>
                  <a:pt x="1078316" y="3306195"/>
                  <a:pt x="1029045" y="3279332"/>
                </a:cubicBezTo>
                <a:cubicBezTo>
                  <a:pt x="961009" y="3242223"/>
                  <a:pt x="908492" y="3171424"/>
                  <a:pt x="840634" y="3141601"/>
                </a:cubicBezTo>
                <a:cubicBezTo>
                  <a:pt x="770793" y="3110867"/>
                  <a:pt x="711057" y="3054638"/>
                  <a:pt x="639229" y="3030734"/>
                </a:cubicBezTo>
                <a:cubicBezTo>
                  <a:pt x="601330" y="3017985"/>
                  <a:pt x="564695" y="2994993"/>
                  <a:pt x="570649" y="2929200"/>
                </a:cubicBezTo>
                <a:cubicBezTo>
                  <a:pt x="572274" y="2910532"/>
                  <a:pt x="562349" y="2895282"/>
                  <a:pt x="546647" y="2900745"/>
                </a:cubicBezTo>
                <a:cubicBezTo>
                  <a:pt x="516690" y="2910989"/>
                  <a:pt x="503154" y="2883898"/>
                  <a:pt x="486550" y="2863636"/>
                </a:cubicBezTo>
                <a:cubicBezTo>
                  <a:pt x="456953" y="2827667"/>
                  <a:pt x="428801" y="2789422"/>
                  <a:pt x="381697" y="2783503"/>
                </a:cubicBezTo>
                <a:cubicBezTo>
                  <a:pt x="390720" y="2755272"/>
                  <a:pt x="406060" y="2759371"/>
                  <a:pt x="420137" y="2765290"/>
                </a:cubicBezTo>
                <a:cubicBezTo>
                  <a:pt x="457133" y="2780772"/>
                  <a:pt x="493769" y="2798300"/>
                  <a:pt x="530765" y="2813781"/>
                </a:cubicBezTo>
                <a:cubicBezTo>
                  <a:pt x="554948" y="2823799"/>
                  <a:pt x="578952" y="2837912"/>
                  <a:pt x="611257" y="2826755"/>
                </a:cubicBezTo>
                <a:cubicBezTo>
                  <a:pt x="583463" y="2769843"/>
                  <a:pt x="536180" y="2759598"/>
                  <a:pt x="497920" y="2742071"/>
                </a:cubicBezTo>
                <a:cubicBezTo>
                  <a:pt x="450096" y="2719988"/>
                  <a:pt x="421942" y="2678326"/>
                  <a:pt x="388193" y="2631885"/>
                </a:cubicBezTo>
                <a:cubicBezTo>
                  <a:pt x="423386" y="2620730"/>
                  <a:pt x="445223" y="2654879"/>
                  <a:pt x="472834" y="2653056"/>
                </a:cubicBezTo>
                <a:cubicBezTo>
                  <a:pt x="474279" y="2647140"/>
                  <a:pt x="476804" y="2638488"/>
                  <a:pt x="476444" y="2638259"/>
                </a:cubicBezTo>
                <a:cubicBezTo>
                  <a:pt x="431326" y="2612763"/>
                  <a:pt x="410211" y="2564956"/>
                  <a:pt x="403173" y="2507131"/>
                </a:cubicBezTo>
                <a:cubicBezTo>
                  <a:pt x="399563" y="2477310"/>
                  <a:pt x="383140" y="2467976"/>
                  <a:pt x="366897" y="2454316"/>
                </a:cubicBezTo>
                <a:cubicBezTo>
                  <a:pt x="310230" y="2405826"/>
                  <a:pt x="250314" y="2361890"/>
                  <a:pt x="203752" y="2295188"/>
                </a:cubicBezTo>
                <a:cubicBezTo>
                  <a:pt x="257532" y="2304066"/>
                  <a:pt x="300665" y="2347547"/>
                  <a:pt x="358597" y="2366215"/>
                </a:cubicBezTo>
                <a:cubicBezTo>
                  <a:pt x="312577" y="2292910"/>
                  <a:pt x="253020" y="2255803"/>
                  <a:pt x="198698" y="2211409"/>
                </a:cubicBezTo>
                <a:cubicBezTo>
                  <a:pt x="173974" y="2191149"/>
                  <a:pt x="151055" y="2165197"/>
                  <a:pt x="121097" y="2154269"/>
                </a:cubicBezTo>
                <a:cubicBezTo>
                  <a:pt x="110448" y="2150400"/>
                  <a:pt x="92943" y="2142204"/>
                  <a:pt x="101425" y="2120577"/>
                </a:cubicBezTo>
                <a:cubicBezTo>
                  <a:pt x="108643" y="2102593"/>
                  <a:pt x="122900" y="2108055"/>
                  <a:pt x="135895" y="2113292"/>
                </a:cubicBezTo>
                <a:cubicBezTo>
                  <a:pt x="167116" y="2126269"/>
                  <a:pt x="199421" y="2126495"/>
                  <a:pt x="241652" y="2126269"/>
                </a:cubicBezTo>
                <a:cubicBezTo>
                  <a:pt x="206279" y="2066851"/>
                  <a:pt x="141489" y="2084608"/>
                  <a:pt x="111170" y="2022231"/>
                </a:cubicBezTo>
                <a:cubicBezTo>
                  <a:pt x="149069" y="2011302"/>
                  <a:pt x="178305" y="2033841"/>
                  <a:pt x="208987" y="2038166"/>
                </a:cubicBezTo>
                <a:cubicBezTo>
                  <a:pt x="236777" y="2042036"/>
                  <a:pt x="243636" y="2031565"/>
                  <a:pt x="237139" y="1997188"/>
                </a:cubicBezTo>
                <a:cubicBezTo>
                  <a:pt x="227034" y="1943690"/>
                  <a:pt x="242193" y="1916371"/>
                  <a:pt x="282618" y="1930941"/>
                </a:cubicBezTo>
                <a:cubicBezTo>
                  <a:pt x="320155" y="1944601"/>
                  <a:pt x="324125" y="1924568"/>
                  <a:pt x="314019" y="1894062"/>
                </a:cubicBezTo>
                <a:cubicBezTo>
                  <a:pt x="299582" y="1849671"/>
                  <a:pt x="316004" y="1815295"/>
                  <a:pt x="327194" y="1777960"/>
                </a:cubicBezTo>
                <a:cubicBezTo>
                  <a:pt x="344339" y="1721045"/>
                  <a:pt x="337121" y="1693272"/>
                  <a:pt x="300123" y="1650929"/>
                </a:cubicBezTo>
                <a:cubicBezTo>
                  <a:pt x="279370" y="1627251"/>
                  <a:pt x="256992" y="1607219"/>
                  <a:pt x="226852" y="1586731"/>
                </a:cubicBezTo>
                <a:cubicBezTo>
                  <a:pt x="296334" y="1575576"/>
                  <a:pt x="223423" y="1538013"/>
                  <a:pt x="247968" y="1514564"/>
                </a:cubicBezTo>
                <a:cubicBezTo>
                  <a:pt x="297056" y="1505003"/>
                  <a:pt x="337121" y="1579673"/>
                  <a:pt x="403895" y="1558274"/>
                </a:cubicBezTo>
                <a:cubicBezTo>
                  <a:pt x="321420" y="1493619"/>
                  <a:pt x="230281" y="1472448"/>
                  <a:pt x="170546" y="1386396"/>
                </a:cubicBezTo>
                <a:cubicBezTo>
                  <a:pt x="184261" y="1366817"/>
                  <a:pt x="197977" y="1385030"/>
                  <a:pt x="209707" y="1377746"/>
                </a:cubicBezTo>
                <a:cubicBezTo>
                  <a:pt x="209346" y="1373192"/>
                  <a:pt x="210250" y="1366362"/>
                  <a:pt x="208083" y="1364314"/>
                </a:cubicBezTo>
                <a:cubicBezTo>
                  <a:pt x="163508" y="1317416"/>
                  <a:pt x="162784" y="1316279"/>
                  <a:pt x="210610" y="1281675"/>
                </a:cubicBezTo>
                <a:cubicBezTo>
                  <a:pt x="227394" y="1269609"/>
                  <a:pt x="225950" y="1258909"/>
                  <a:pt x="217108" y="1243657"/>
                </a:cubicBezTo>
                <a:cubicBezTo>
                  <a:pt x="210790" y="1232957"/>
                  <a:pt x="203211" y="1223395"/>
                  <a:pt x="206820" y="1199947"/>
                </a:cubicBezTo>
                <a:cubicBezTo>
                  <a:pt x="232988" y="1229998"/>
                  <a:pt x="359499" y="1220208"/>
                  <a:pt x="381877" y="1217021"/>
                </a:cubicBezTo>
                <a:cubicBezTo>
                  <a:pt x="406963" y="1213607"/>
                  <a:pt x="431688" y="1199037"/>
                  <a:pt x="458035" y="1207003"/>
                </a:cubicBezTo>
                <a:cubicBezTo>
                  <a:pt x="479150" y="1213381"/>
                  <a:pt x="576966" y="1275073"/>
                  <a:pt x="590863" y="1204273"/>
                </a:cubicBezTo>
                <a:cubicBezTo>
                  <a:pt x="591585" y="1200858"/>
                  <a:pt x="631107" y="1208826"/>
                  <a:pt x="652403" y="1212696"/>
                </a:cubicBezTo>
                <a:cubicBezTo>
                  <a:pt x="671172" y="1215883"/>
                  <a:pt x="692288" y="1229998"/>
                  <a:pt x="704920" y="1201769"/>
                </a:cubicBezTo>
                <a:cubicBezTo>
                  <a:pt x="712320" y="1185150"/>
                  <a:pt x="681820" y="1153051"/>
                  <a:pt x="654569" y="1150320"/>
                </a:cubicBezTo>
                <a:cubicBezTo>
                  <a:pt x="630926" y="1147814"/>
                  <a:pt x="606202" y="1144172"/>
                  <a:pt x="583643" y="1151001"/>
                </a:cubicBezTo>
                <a:cubicBezTo>
                  <a:pt x="555852" y="1159198"/>
                  <a:pt x="540873" y="1145995"/>
                  <a:pt x="533111" y="1117538"/>
                </a:cubicBezTo>
                <a:cubicBezTo>
                  <a:pt x="524450" y="1086122"/>
                  <a:pt x="507845" y="1071550"/>
                  <a:pt x="484926" y="1056980"/>
                </a:cubicBezTo>
                <a:cubicBezTo>
                  <a:pt x="429340" y="1021696"/>
                  <a:pt x="375921" y="980946"/>
                  <a:pt x="314922" y="960456"/>
                </a:cubicBezTo>
                <a:cubicBezTo>
                  <a:pt x="302830" y="956358"/>
                  <a:pt x="289476" y="950894"/>
                  <a:pt x="283881" y="923805"/>
                </a:cubicBezTo>
                <a:cubicBezTo>
                  <a:pt x="449013" y="964326"/>
                  <a:pt x="599526" y="1069958"/>
                  <a:pt x="769890" y="1063811"/>
                </a:cubicBezTo>
                <a:cubicBezTo>
                  <a:pt x="723329" y="1030346"/>
                  <a:pt x="669369" y="1028524"/>
                  <a:pt x="619738" y="1005076"/>
                </a:cubicBezTo>
                <a:cubicBezTo>
                  <a:pt x="654930" y="987546"/>
                  <a:pt x="687956" y="1005759"/>
                  <a:pt x="721344" y="1015777"/>
                </a:cubicBezTo>
                <a:cubicBezTo>
                  <a:pt x="749317" y="1023970"/>
                  <a:pt x="774583" y="1025337"/>
                  <a:pt x="777650" y="976393"/>
                </a:cubicBezTo>
                <a:cubicBezTo>
                  <a:pt x="776566" y="973205"/>
                  <a:pt x="776747" y="969107"/>
                  <a:pt x="776929" y="965238"/>
                </a:cubicBezTo>
                <a:cubicBezTo>
                  <a:pt x="767542" y="944976"/>
                  <a:pt x="752926" y="934504"/>
                  <a:pt x="735601" y="928584"/>
                </a:cubicBezTo>
                <a:cubicBezTo>
                  <a:pt x="725133" y="924942"/>
                  <a:pt x="711237" y="919478"/>
                  <a:pt x="711416" y="904909"/>
                </a:cubicBezTo>
                <a:cubicBezTo>
                  <a:pt x="711958" y="850955"/>
                  <a:pt x="678571" y="835246"/>
                  <a:pt x="645185" y="819539"/>
                </a:cubicBezTo>
                <a:cubicBezTo>
                  <a:pt x="663773" y="792676"/>
                  <a:pt x="678391" y="812481"/>
                  <a:pt x="692468" y="810433"/>
                </a:cubicBezTo>
                <a:cubicBezTo>
                  <a:pt x="701672" y="809067"/>
                  <a:pt x="709973" y="806563"/>
                  <a:pt x="709973" y="792676"/>
                </a:cubicBezTo>
                <a:cubicBezTo>
                  <a:pt x="710154" y="781065"/>
                  <a:pt x="705822" y="767861"/>
                  <a:pt x="696799" y="767635"/>
                </a:cubicBezTo>
                <a:cubicBezTo>
                  <a:pt x="640312" y="765585"/>
                  <a:pt x="609090" y="690914"/>
                  <a:pt x="550437" y="690687"/>
                </a:cubicBezTo>
                <a:cubicBezTo>
                  <a:pt x="515425" y="690687"/>
                  <a:pt x="568666" y="648572"/>
                  <a:pt x="539068" y="631042"/>
                </a:cubicBezTo>
                <a:cubicBezTo>
                  <a:pt x="532570" y="627171"/>
                  <a:pt x="556032" y="621254"/>
                  <a:pt x="566500" y="622164"/>
                </a:cubicBezTo>
                <a:cubicBezTo>
                  <a:pt x="576786" y="623074"/>
                  <a:pt x="585990" y="634229"/>
                  <a:pt x="598443" y="626261"/>
                </a:cubicBezTo>
                <a:cubicBezTo>
                  <a:pt x="605300" y="597806"/>
                  <a:pt x="587615" y="587332"/>
                  <a:pt x="572996" y="579365"/>
                </a:cubicBezTo>
                <a:cubicBezTo>
                  <a:pt x="539247" y="560925"/>
                  <a:pt x="506402" y="538615"/>
                  <a:pt x="469405" y="532013"/>
                </a:cubicBezTo>
                <a:cubicBezTo>
                  <a:pt x="456232" y="529737"/>
                  <a:pt x="488355" y="499231"/>
                  <a:pt x="494671" y="488532"/>
                </a:cubicBezTo>
                <a:cubicBezTo>
                  <a:pt x="345782" y="376071"/>
                  <a:pt x="166756" y="381762"/>
                  <a:pt x="0" y="290928"/>
                </a:cubicBezTo>
                <a:cubicBezTo>
                  <a:pt x="36817" y="273173"/>
                  <a:pt x="63887" y="286148"/>
                  <a:pt x="88973" y="288880"/>
                </a:cubicBezTo>
                <a:cubicBezTo>
                  <a:pt x="151595" y="295708"/>
                  <a:pt x="213498" y="309822"/>
                  <a:pt x="275940" y="318246"/>
                </a:cubicBezTo>
                <a:cubicBezTo>
                  <a:pt x="306620" y="322344"/>
                  <a:pt x="335134" y="337824"/>
                  <a:pt x="369424" y="313239"/>
                </a:cubicBezTo>
                <a:cubicBezTo>
                  <a:pt x="392343" y="296847"/>
                  <a:pt x="428980" y="314604"/>
                  <a:pt x="457133" y="329174"/>
                </a:cubicBezTo>
                <a:cubicBezTo>
                  <a:pt x="480414" y="341238"/>
                  <a:pt x="502612" y="344425"/>
                  <a:pt x="533474" y="329174"/>
                </a:cubicBezTo>
                <a:cubicBezTo>
                  <a:pt x="505501" y="319841"/>
                  <a:pt x="484023" y="311645"/>
                  <a:pt x="462006" y="305953"/>
                </a:cubicBezTo>
                <a:cubicBezTo>
                  <a:pt x="444501" y="301400"/>
                  <a:pt x="486189" y="282960"/>
                  <a:pt x="507484" y="285237"/>
                </a:cubicBezTo>
                <a:cubicBezTo>
                  <a:pt x="537263" y="288423"/>
                  <a:pt x="520479" y="276586"/>
                  <a:pt x="515425" y="260195"/>
                </a:cubicBezTo>
                <a:cubicBezTo>
                  <a:pt x="510012" y="242665"/>
                  <a:pt x="526074" y="237203"/>
                  <a:pt x="536180" y="240844"/>
                </a:cubicBezTo>
                <a:cubicBezTo>
                  <a:pt x="574980" y="255187"/>
                  <a:pt x="613602" y="229917"/>
                  <a:pt x="653668" y="250407"/>
                </a:cubicBezTo>
                <a:cubicBezTo>
                  <a:pt x="643561" y="199867"/>
                  <a:pt x="621723" y="177784"/>
                  <a:pt x="576064" y="170726"/>
                </a:cubicBezTo>
                <a:cubicBezTo>
                  <a:pt x="558919" y="167996"/>
                  <a:pt x="541053" y="172093"/>
                  <a:pt x="526254" y="157522"/>
                </a:cubicBezTo>
                <a:cubicBezTo>
                  <a:pt x="517771" y="149101"/>
                  <a:pt x="508207" y="139084"/>
                  <a:pt x="514884" y="123603"/>
                </a:cubicBezTo>
                <a:cubicBezTo>
                  <a:pt x="519577" y="112674"/>
                  <a:pt x="529684" y="112674"/>
                  <a:pt x="537985" y="116318"/>
                </a:cubicBezTo>
                <a:cubicBezTo>
                  <a:pt x="575162" y="132483"/>
                  <a:pt x="613963" y="138400"/>
                  <a:pt x="652764" y="144320"/>
                </a:cubicBezTo>
                <a:cubicBezTo>
                  <a:pt x="658720" y="145230"/>
                  <a:pt x="665397" y="148191"/>
                  <a:pt x="672075" y="133164"/>
                </a:cubicBezTo>
                <a:cubicBezTo>
                  <a:pt x="599526" y="108805"/>
                  <a:pt x="530585" y="74202"/>
                  <a:pt x="456051" y="60770"/>
                </a:cubicBezTo>
                <a:cubicBezTo>
                  <a:pt x="457133" y="54397"/>
                  <a:pt x="458215" y="48022"/>
                  <a:pt x="459299" y="41649"/>
                </a:cubicBezTo>
                <a:cubicBezTo>
                  <a:pt x="517591" y="50753"/>
                  <a:pt x="575884" y="59859"/>
                  <a:pt x="649515" y="71243"/>
                </a:cubicBezTo>
                <a:cubicBezTo>
                  <a:pt x="604218" y="35045"/>
                  <a:pt x="561446" y="47111"/>
                  <a:pt x="527879" y="15013"/>
                </a:cubicBezTo>
                <a:cubicBezTo>
                  <a:pt x="534195" y="2833"/>
                  <a:pt x="541820" y="-241"/>
                  <a:pt x="549716" y="15"/>
                </a:cubicBezTo>
                <a:close/>
              </a:path>
            </a:pathLst>
          </a:cu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C481297-F2AA-4A43-ACD7-19AC9EBB411A}"/>
              </a:ext>
            </a:extLst>
          </p:cNvPr>
          <p:cNvSpPr txBox="1"/>
          <p:nvPr/>
        </p:nvSpPr>
        <p:spPr>
          <a:xfrm>
            <a:off x="7015283" y="3391646"/>
            <a:ext cx="46925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0872A6"/>
                </a:solidFill>
              </a:rPr>
              <a:t>10 GW</a:t>
            </a:r>
            <a:r>
              <a:rPr lang="en-US" sz="1400" dirty="0"/>
              <a:t> </a:t>
            </a:r>
            <a:r>
              <a:rPr lang="en-GB" sz="1400" dirty="0" err="1"/>
              <a:t>Aquaventus</a:t>
            </a:r>
            <a:r>
              <a:rPr lang="en-GB" sz="1400" dirty="0"/>
              <a:t> </a:t>
            </a:r>
            <a:r>
              <a:rPr lang="en-GB" sz="1400" b="1" dirty="0">
                <a:solidFill>
                  <a:srgbClr val="0872A6"/>
                </a:solidFill>
              </a:rPr>
              <a:t>offshore wind </a:t>
            </a:r>
            <a:r>
              <a:rPr lang="en-GB" sz="1400" dirty="0"/>
              <a:t>and </a:t>
            </a:r>
            <a:r>
              <a:rPr lang="en-GB" sz="1400" b="1" dirty="0">
                <a:solidFill>
                  <a:srgbClr val="0872A6"/>
                </a:solidFill>
              </a:rPr>
              <a:t>green</a:t>
            </a:r>
            <a:r>
              <a:rPr lang="en-GB" sz="1400" dirty="0"/>
              <a:t> </a:t>
            </a:r>
            <a:r>
              <a:rPr lang="en-GB" sz="1400" b="1" dirty="0">
                <a:solidFill>
                  <a:srgbClr val="0872A6"/>
                </a:solidFill>
              </a:rPr>
              <a:t>hydrogen</a:t>
            </a:r>
            <a:r>
              <a:rPr lang="en-GB" sz="1400" dirty="0"/>
              <a:t> project, Germany (</a:t>
            </a:r>
            <a:r>
              <a:rPr lang="en-GB" sz="1400" b="1" dirty="0">
                <a:solidFill>
                  <a:srgbClr val="0872A6"/>
                </a:solidFill>
              </a:rPr>
              <a:t>2035</a:t>
            </a:r>
            <a:r>
              <a:rPr lang="en-GB" sz="1400" dirty="0"/>
              <a:t>)</a:t>
            </a:r>
            <a:endParaRPr lang="en-US" sz="1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197430F-C4D5-4B21-A274-9AC7776C3F5D}"/>
              </a:ext>
            </a:extLst>
          </p:cNvPr>
          <p:cNvSpPr txBox="1"/>
          <p:nvPr/>
        </p:nvSpPr>
        <p:spPr>
          <a:xfrm>
            <a:off x="211513" y="6196002"/>
            <a:ext cx="46925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0872A6"/>
                </a:solidFill>
              </a:rPr>
              <a:t>2.1 GW</a:t>
            </a:r>
            <a:r>
              <a:rPr lang="en-US" sz="1400" dirty="0"/>
              <a:t> </a:t>
            </a:r>
            <a:r>
              <a:rPr lang="en-GB" sz="1400" dirty="0"/>
              <a:t> Floating solar PV at </a:t>
            </a:r>
            <a:r>
              <a:rPr lang="en-GB" sz="1400" dirty="0" err="1"/>
              <a:t>Saemangeum</a:t>
            </a:r>
            <a:r>
              <a:rPr lang="en-GB" sz="1400" dirty="0"/>
              <a:t> Seawall, Republic of Korea (</a:t>
            </a:r>
            <a:r>
              <a:rPr lang="en-GB" sz="1400" b="1" dirty="0">
                <a:solidFill>
                  <a:srgbClr val="0872A6"/>
                </a:solidFill>
              </a:rPr>
              <a:t>2025</a:t>
            </a:r>
            <a:r>
              <a:rPr lang="en-GB" sz="1400" dirty="0"/>
              <a:t>)</a:t>
            </a:r>
            <a:endParaRPr lang="en-US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7672C76-9C6F-4289-8CFE-2A9556B4F8E3}"/>
              </a:ext>
            </a:extLst>
          </p:cNvPr>
          <p:cNvSpPr txBox="1"/>
          <p:nvPr/>
        </p:nvSpPr>
        <p:spPr>
          <a:xfrm>
            <a:off x="7015282" y="6313305"/>
            <a:ext cx="44919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872A6"/>
                </a:solidFill>
              </a:rPr>
              <a:t>9MW</a:t>
            </a:r>
            <a:r>
              <a:rPr lang="en-US" dirty="0"/>
              <a:t> tidal array in Nova Scotia, Canada (</a:t>
            </a:r>
            <a:r>
              <a:rPr lang="en-US" b="1" dirty="0">
                <a:solidFill>
                  <a:srgbClr val="0872A6"/>
                </a:solidFill>
              </a:rPr>
              <a:t>2021</a:t>
            </a:r>
            <a:r>
              <a:rPr lang="en-US" dirty="0"/>
              <a:t>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E8AD9C3-83B5-4C7B-BA25-5D493FD9E81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0760" y="4038929"/>
            <a:ext cx="3800180" cy="2319590"/>
          </a:xfrm>
          <a:custGeom>
            <a:avLst/>
            <a:gdLst/>
            <a:ahLst/>
            <a:cxnLst/>
            <a:rect l="l" t="t" r="r" b="b"/>
            <a:pathLst>
              <a:path w="3458367" h="3476265">
                <a:moveTo>
                  <a:pt x="549716" y="15"/>
                </a:moveTo>
                <a:cubicBezTo>
                  <a:pt x="557611" y="271"/>
                  <a:pt x="565778" y="3856"/>
                  <a:pt x="573176" y="4995"/>
                </a:cubicBezTo>
                <a:cubicBezTo>
                  <a:pt x="736504" y="30493"/>
                  <a:pt x="899830" y="58040"/>
                  <a:pt x="1063336" y="82398"/>
                </a:cubicBezTo>
                <a:cubicBezTo>
                  <a:pt x="1216195" y="105163"/>
                  <a:pt x="1370136" y="110398"/>
                  <a:pt x="1523717" y="122237"/>
                </a:cubicBezTo>
                <a:cubicBezTo>
                  <a:pt x="1709602" y="136580"/>
                  <a:pt x="1895127" y="156841"/>
                  <a:pt x="2079929" y="188711"/>
                </a:cubicBezTo>
                <a:cubicBezTo>
                  <a:pt x="2208244" y="211023"/>
                  <a:pt x="2337823" y="226502"/>
                  <a:pt x="2467943" y="208745"/>
                </a:cubicBezTo>
                <a:cubicBezTo>
                  <a:pt x="2474439" y="207834"/>
                  <a:pt x="2481839" y="204876"/>
                  <a:pt x="2487253" y="207834"/>
                </a:cubicBezTo>
                <a:cubicBezTo>
                  <a:pt x="2550419" y="241073"/>
                  <a:pt x="2619357" y="217168"/>
                  <a:pt x="2684869" y="238113"/>
                </a:cubicBezTo>
                <a:cubicBezTo>
                  <a:pt x="2668085" y="318930"/>
                  <a:pt x="2596077" y="312327"/>
                  <a:pt x="2555471" y="368331"/>
                </a:cubicBezTo>
                <a:cubicBezTo>
                  <a:pt x="2621704" y="390639"/>
                  <a:pt x="2681259" y="413178"/>
                  <a:pt x="2741717" y="430023"/>
                </a:cubicBezTo>
                <a:cubicBezTo>
                  <a:pt x="2805785" y="447780"/>
                  <a:pt x="2860106" y="495816"/>
                  <a:pt x="2922728" y="517216"/>
                </a:cubicBezTo>
                <a:cubicBezTo>
                  <a:pt x="2936085" y="521769"/>
                  <a:pt x="2952146" y="537704"/>
                  <a:pt x="2956838" y="553184"/>
                </a:cubicBezTo>
                <a:cubicBezTo>
                  <a:pt x="2971997" y="603269"/>
                  <a:pt x="3274647" y="743732"/>
                  <a:pt x="3238914" y="788350"/>
                </a:cubicBezTo>
                <a:cubicBezTo>
                  <a:pt x="3224116" y="806791"/>
                  <a:pt x="3204986" y="819994"/>
                  <a:pt x="3184953" y="838207"/>
                </a:cubicBezTo>
                <a:cubicBezTo>
                  <a:pt x="3215093" y="872582"/>
                  <a:pt x="3249020" y="887608"/>
                  <a:pt x="3285115" y="897852"/>
                </a:cubicBezTo>
                <a:cubicBezTo>
                  <a:pt x="3295944" y="901039"/>
                  <a:pt x="3306591" y="907413"/>
                  <a:pt x="3307674" y="922894"/>
                </a:cubicBezTo>
                <a:cubicBezTo>
                  <a:pt x="3308757" y="939056"/>
                  <a:pt x="3297748" y="945429"/>
                  <a:pt x="3288544" y="952944"/>
                </a:cubicBezTo>
                <a:cubicBezTo>
                  <a:pt x="3275731" y="963415"/>
                  <a:pt x="3263278" y="972523"/>
                  <a:pt x="3247036" y="973888"/>
                </a:cubicBezTo>
                <a:cubicBezTo>
                  <a:pt x="3220325" y="975937"/>
                  <a:pt x="3207513" y="1005076"/>
                  <a:pt x="3191993" y="1026930"/>
                </a:cubicBezTo>
                <a:cubicBezTo>
                  <a:pt x="3183330" y="1039224"/>
                  <a:pt x="3178998" y="1064037"/>
                  <a:pt x="3194157" y="1068363"/>
                </a:cubicBezTo>
                <a:cubicBezTo>
                  <a:pt x="3230613" y="1078837"/>
                  <a:pt x="3227725" y="1109114"/>
                  <a:pt x="3226824" y="1143489"/>
                </a:cubicBezTo>
                <a:cubicBezTo>
                  <a:pt x="3225560" y="1186061"/>
                  <a:pt x="3204083" y="1205638"/>
                  <a:pt x="3177734" y="1222030"/>
                </a:cubicBezTo>
                <a:cubicBezTo>
                  <a:pt x="3168711" y="1227720"/>
                  <a:pt x="3155898" y="1227493"/>
                  <a:pt x="3152469" y="1245250"/>
                </a:cubicBezTo>
                <a:cubicBezTo>
                  <a:pt x="3167267" y="1262097"/>
                  <a:pt x="3185314" y="1248439"/>
                  <a:pt x="3201197" y="1253218"/>
                </a:cubicBezTo>
                <a:cubicBezTo>
                  <a:pt x="3214370" y="1257088"/>
                  <a:pt x="3236208" y="1255040"/>
                  <a:pt x="3218160" y="1286000"/>
                </a:cubicBezTo>
                <a:cubicBezTo>
                  <a:pt x="3212926" y="1294878"/>
                  <a:pt x="3219062" y="1301709"/>
                  <a:pt x="3225741" y="1302392"/>
                </a:cubicBezTo>
                <a:cubicBezTo>
                  <a:pt x="3279159" y="1309449"/>
                  <a:pt x="3254615" y="1372054"/>
                  <a:pt x="3271761" y="1405063"/>
                </a:cubicBezTo>
                <a:cubicBezTo>
                  <a:pt x="3276452" y="1414169"/>
                  <a:pt x="3271399" y="1429877"/>
                  <a:pt x="3263999" y="1433747"/>
                </a:cubicBezTo>
                <a:cubicBezTo>
                  <a:pt x="3216716" y="1459245"/>
                  <a:pt x="3210220" y="1520028"/>
                  <a:pt x="3187299" y="1572389"/>
                </a:cubicBezTo>
                <a:cubicBezTo>
                  <a:pt x="3212205" y="1593104"/>
                  <a:pt x="3241982" y="1597657"/>
                  <a:pt x="3268872" y="1611089"/>
                </a:cubicBezTo>
                <a:cubicBezTo>
                  <a:pt x="3296846" y="1625204"/>
                  <a:pt x="3296846" y="1635676"/>
                  <a:pt x="3273746" y="1676653"/>
                </a:cubicBezTo>
                <a:cubicBezTo>
                  <a:pt x="3333842" y="1685532"/>
                  <a:pt x="3333842" y="1685532"/>
                  <a:pt x="3315254" y="1749957"/>
                </a:cubicBezTo>
                <a:cubicBezTo>
                  <a:pt x="3365607" y="1755877"/>
                  <a:pt x="3398812" y="1786382"/>
                  <a:pt x="3406572" y="1853085"/>
                </a:cubicBezTo>
                <a:cubicBezTo>
                  <a:pt x="3410362" y="1885411"/>
                  <a:pt x="3433101" y="1900663"/>
                  <a:pt x="3458367" y="1922291"/>
                </a:cubicBezTo>
                <a:cubicBezTo>
                  <a:pt x="3426966" y="1943236"/>
                  <a:pt x="3405669" y="1986945"/>
                  <a:pt x="3369034" y="1940730"/>
                </a:cubicBezTo>
                <a:cubicBezTo>
                  <a:pt x="3355680" y="1923885"/>
                  <a:pt x="3356941" y="1945284"/>
                  <a:pt x="3355138" y="1951430"/>
                </a:cubicBezTo>
                <a:cubicBezTo>
                  <a:pt x="3350807" y="1966455"/>
                  <a:pt x="3359830" y="1976472"/>
                  <a:pt x="3365786" y="1987854"/>
                </a:cubicBezTo>
                <a:cubicBezTo>
                  <a:pt x="3371561" y="1999237"/>
                  <a:pt x="3378420" y="2011302"/>
                  <a:pt x="3380043" y="2024054"/>
                </a:cubicBezTo>
                <a:cubicBezTo>
                  <a:pt x="3381125" y="2032931"/>
                  <a:pt x="3375892" y="2045905"/>
                  <a:pt x="3370117" y="2052509"/>
                </a:cubicBezTo>
                <a:cubicBezTo>
                  <a:pt x="3339797" y="2087340"/>
                  <a:pt x="3357844" y="2165652"/>
                  <a:pt x="3300454" y="2175670"/>
                </a:cubicBezTo>
                <a:cubicBezTo>
                  <a:pt x="3274647" y="2180221"/>
                  <a:pt x="3262195" y="2208906"/>
                  <a:pt x="3243246" y="2224614"/>
                </a:cubicBezTo>
                <a:cubicBezTo>
                  <a:pt x="3177374" y="2279478"/>
                  <a:pt x="3133338" y="2350051"/>
                  <a:pt x="3112946" y="2447031"/>
                </a:cubicBezTo>
                <a:cubicBezTo>
                  <a:pt x="3107352" y="2473894"/>
                  <a:pt x="3085875" y="2495522"/>
                  <a:pt x="3071979" y="2519197"/>
                </a:cubicBezTo>
                <a:cubicBezTo>
                  <a:pt x="3078657" y="2536499"/>
                  <a:pt x="3115112" y="2499164"/>
                  <a:pt x="3102298" y="2544694"/>
                </a:cubicBezTo>
                <a:cubicBezTo>
                  <a:pt x="3092553" y="2578843"/>
                  <a:pt x="3067647" y="2600014"/>
                  <a:pt x="3044185" y="2620276"/>
                </a:cubicBezTo>
                <a:cubicBezTo>
                  <a:pt x="3017476" y="2643268"/>
                  <a:pt x="2987879" y="2661708"/>
                  <a:pt x="2975787" y="2704279"/>
                </a:cubicBezTo>
                <a:cubicBezTo>
                  <a:pt x="2973260" y="2713386"/>
                  <a:pt x="2965140" y="2722947"/>
                  <a:pt x="2957921" y="2726591"/>
                </a:cubicBezTo>
                <a:cubicBezTo>
                  <a:pt x="2581458" y="3475797"/>
                  <a:pt x="1654740" y="3480805"/>
                  <a:pt x="1547901" y="3475568"/>
                </a:cubicBezTo>
                <a:cubicBezTo>
                  <a:pt x="1418503" y="3468966"/>
                  <a:pt x="1296143" y="3422753"/>
                  <a:pt x="1176132" y="3365156"/>
                </a:cubicBezTo>
                <a:cubicBezTo>
                  <a:pt x="1125418" y="3340797"/>
                  <a:pt x="1078316" y="3306195"/>
                  <a:pt x="1029045" y="3279332"/>
                </a:cubicBezTo>
                <a:cubicBezTo>
                  <a:pt x="961009" y="3242223"/>
                  <a:pt x="908492" y="3171424"/>
                  <a:pt x="840634" y="3141601"/>
                </a:cubicBezTo>
                <a:cubicBezTo>
                  <a:pt x="770793" y="3110867"/>
                  <a:pt x="711057" y="3054638"/>
                  <a:pt x="639229" y="3030734"/>
                </a:cubicBezTo>
                <a:cubicBezTo>
                  <a:pt x="601330" y="3017985"/>
                  <a:pt x="564695" y="2994993"/>
                  <a:pt x="570649" y="2929200"/>
                </a:cubicBezTo>
                <a:cubicBezTo>
                  <a:pt x="572274" y="2910532"/>
                  <a:pt x="562349" y="2895282"/>
                  <a:pt x="546647" y="2900745"/>
                </a:cubicBezTo>
                <a:cubicBezTo>
                  <a:pt x="516690" y="2910989"/>
                  <a:pt x="503154" y="2883898"/>
                  <a:pt x="486550" y="2863636"/>
                </a:cubicBezTo>
                <a:cubicBezTo>
                  <a:pt x="456953" y="2827667"/>
                  <a:pt x="428801" y="2789422"/>
                  <a:pt x="381697" y="2783503"/>
                </a:cubicBezTo>
                <a:cubicBezTo>
                  <a:pt x="390720" y="2755272"/>
                  <a:pt x="406060" y="2759371"/>
                  <a:pt x="420137" y="2765290"/>
                </a:cubicBezTo>
                <a:cubicBezTo>
                  <a:pt x="457133" y="2780772"/>
                  <a:pt x="493769" y="2798300"/>
                  <a:pt x="530765" y="2813781"/>
                </a:cubicBezTo>
                <a:cubicBezTo>
                  <a:pt x="554948" y="2823799"/>
                  <a:pt x="578952" y="2837912"/>
                  <a:pt x="611257" y="2826755"/>
                </a:cubicBezTo>
                <a:cubicBezTo>
                  <a:pt x="583463" y="2769843"/>
                  <a:pt x="536180" y="2759598"/>
                  <a:pt x="497920" y="2742071"/>
                </a:cubicBezTo>
                <a:cubicBezTo>
                  <a:pt x="450096" y="2719988"/>
                  <a:pt x="421942" y="2678326"/>
                  <a:pt x="388193" y="2631885"/>
                </a:cubicBezTo>
                <a:cubicBezTo>
                  <a:pt x="423386" y="2620730"/>
                  <a:pt x="445223" y="2654879"/>
                  <a:pt x="472834" y="2653056"/>
                </a:cubicBezTo>
                <a:cubicBezTo>
                  <a:pt x="474279" y="2647140"/>
                  <a:pt x="476804" y="2638488"/>
                  <a:pt x="476444" y="2638259"/>
                </a:cubicBezTo>
                <a:cubicBezTo>
                  <a:pt x="431326" y="2612763"/>
                  <a:pt x="410211" y="2564956"/>
                  <a:pt x="403173" y="2507131"/>
                </a:cubicBezTo>
                <a:cubicBezTo>
                  <a:pt x="399563" y="2477310"/>
                  <a:pt x="383140" y="2467976"/>
                  <a:pt x="366897" y="2454316"/>
                </a:cubicBezTo>
                <a:cubicBezTo>
                  <a:pt x="310230" y="2405826"/>
                  <a:pt x="250314" y="2361890"/>
                  <a:pt x="203752" y="2295188"/>
                </a:cubicBezTo>
                <a:cubicBezTo>
                  <a:pt x="257532" y="2304066"/>
                  <a:pt x="300665" y="2347547"/>
                  <a:pt x="358597" y="2366215"/>
                </a:cubicBezTo>
                <a:cubicBezTo>
                  <a:pt x="312577" y="2292910"/>
                  <a:pt x="253020" y="2255803"/>
                  <a:pt x="198698" y="2211409"/>
                </a:cubicBezTo>
                <a:cubicBezTo>
                  <a:pt x="173974" y="2191149"/>
                  <a:pt x="151055" y="2165197"/>
                  <a:pt x="121097" y="2154269"/>
                </a:cubicBezTo>
                <a:cubicBezTo>
                  <a:pt x="110448" y="2150400"/>
                  <a:pt x="92943" y="2142204"/>
                  <a:pt x="101425" y="2120577"/>
                </a:cubicBezTo>
                <a:cubicBezTo>
                  <a:pt x="108643" y="2102593"/>
                  <a:pt x="122900" y="2108055"/>
                  <a:pt x="135895" y="2113292"/>
                </a:cubicBezTo>
                <a:cubicBezTo>
                  <a:pt x="167116" y="2126269"/>
                  <a:pt x="199421" y="2126495"/>
                  <a:pt x="241652" y="2126269"/>
                </a:cubicBezTo>
                <a:cubicBezTo>
                  <a:pt x="206279" y="2066851"/>
                  <a:pt x="141489" y="2084608"/>
                  <a:pt x="111170" y="2022231"/>
                </a:cubicBezTo>
                <a:cubicBezTo>
                  <a:pt x="149069" y="2011302"/>
                  <a:pt x="178305" y="2033841"/>
                  <a:pt x="208987" y="2038166"/>
                </a:cubicBezTo>
                <a:cubicBezTo>
                  <a:pt x="236777" y="2042036"/>
                  <a:pt x="243636" y="2031565"/>
                  <a:pt x="237139" y="1997188"/>
                </a:cubicBezTo>
                <a:cubicBezTo>
                  <a:pt x="227034" y="1943690"/>
                  <a:pt x="242193" y="1916371"/>
                  <a:pt x="282618" y="1930941"/>
                </a:cubicBezTo>
                <a:cubicBezTo>
                  <a:pt x="320155" y="1944601"/>
                  <a:pt x="324125" y="1924568"/>
                  <a:pt x="314019" y="1894062"/>
                </a:cubicBezTo>
                <a:cubicBezTo>
                  <a:pt x="299582" y="1849671"/>
                  <a:pt x="316004" y="1815295"/>
                  <a:pt x="327194" y="1777960"/>
                </a:cubicBezTo>
                <a:cubicBezTo>
                  <a:pt x="344339" y="1721045"/>
                  <a:pt x="337121" y="1693272"/>
                  <a:pt x="300123" y="1650929"/>
                </a:cubicBezTo>
                <a:cubicBezTo>
                  <a:pt x="279370" y="1627251"/>
                  <a:pt x="256992" y="1607219"/>
                  <a:pt x="226852" y="1586731"/>
                </a:cubicBezTo>
                <a:cubicBezTo>
                  <a:pt x="296334" y="1575576"/>
                  <a:pt x="223423" y="1538013"/>
                  <a:pt x="247968" y="1514564"/>
                </a:cubicBezTo>
                <a:cubicBezTo>
                  <a:pt x="297056" y="1505003"/>
                  <a:pt x="337121" y="1579673"/>
                  <a:pt x="403895" y="1558274"/>
                </a:cubicBezTo>
                <a:cubicBezTo>
                  <a:pt x="321420" y="1493619"/>
                  <a:pt x="230281" y="1472448"/>
                  <a:pt x="170546" y="1386396"/>
                </a:cubicBezTo>
                <a:cubicBezTo>
                  <a:pt x="184261" y="1366817"/>
                  <a:pt x="197977" y="1385030"/>
                  <a:pt x="209707" y="1377746"/>
                </a:cubicBezTo>
                <a:cubicBezTo>
                  <a:pt x="209346" y="1373192"/>
                  <a:pt x="210250" y="1366362"/>
                  <a:pt x="208083" y="1364314"/>
                </a:cubicBezTo>
                <a:cubicBezTo>
                  <a:pt x="163508" y="1317416"/>
                  <a:pt x="162784" y="1316279"/>
                  <a:pt x="210610" y="1281675"/>
                </a:cubicBezTo>
                <a:cubicBezTo>
                  <a:pt x="227394" y="1269609"/>
                  <a:pt x="225950" y="1258909"/>
                  <a:pt x="217108" y="1243657"/>
                </a:cubicBezTo>
                <a:cubicBezTo>
                  <a:pt x="210790" y="1232957"/>
                  <a:pt x="203211" y="1223395"/>
                  <a:pt x="206820" y="1199947"/>
                </a:cubicBezTo>
                <a:cubicBezTo>
                  <a:pt x="232988" y="1229998"/>
                  <a:pt x="359499" y="1220208"/>
                  <a:pt x="381877" y="1217021"/>
                </a:cubicBezTo>
                <a:cubicBezTo>
                  <a:pt x="406963" y="1213607"/>
                  <a:pt x="431688" y="1199037"/>
                  <a:pt x="458035" y="1207003"/>
                </a:cubicBezTo>
                <a:cubicBezTo>
                  <a:pt x="479150" y="1213381"/>
                  <a:pt x="576966" y="1275073"/>
                  <a:pt x="590863" y="1204273"/>
                </a:cubicBezTo>
                <a:cubicBezTo>
                  <a:pt x="591585" y="1200858"/>
                  <a:pt x="631107" y="1208826"/>
                  <a:pt x="652403" y="1212696"/>
                </a:cubicBezTo>
                <a:cubicBezTo>
                  <a:pt x="671172" y="1215883"/>
                  <a:pt x="692288" y="1229998"/>
                  <a:pt x="704920" y="1201769"/>
                </a:cubicBezTo>
                <a:cubicBezTo>
                  <a:pt x="712320" y="1185150"/>
                  <a:pt x="681820" y="1153051"/>
                  <a:pt x="654569" y="1150320"/>
                </a:cubicBezTo>
                <a:cubicBezTo>
                  <a:pt x="630926" y="1147814"/>
                  <a:pt x="606202" y="1144172"/>
                  <a:pt x="583643" y="1151001"/>
                </a:cubicBezTo>
                <a:cubicBezTo>
                  <a:pt x="555852" y="1159198"/>
                  <a:pt x="540873" y="1145995"/>
                  <a:pt x="533111" y="1117538"/>
                </a:cubicBezTo>
                <a:cubicBezTo>
                  <a:pt x="524450" y="1086122"/>
                  <a:pt x="507845" y="1071550"/>
                  <a:pt x="484926" y="1056980"/>
                </a:cubicBezTo>
                <a:cubicBezTo>
                  <a:pt x="429340" y="1021696"/>
                  <a:pt x="375921" y="980946"/>
                  <a:pt x="314922" y="960456"/>
                </a:cubicBezTo>
                <a:cubicBezTo>
                  <a:pt x="302830" y="956358"/>
                  <a:pt x="289476" y="950894"/>
                  <a:pt x="283881" y="923805"/>
                </a:cubicBezTo>
                <a:cubicBezTo>
                  <a:pt x="449013" y="964326"/>
                  <a:pt x="599526" y="1069958"/>
                  <a:pt x="769890" y="1063811"/>
                </a:cubicBezTo>
                <a:cubicBezTo>
                  <a:pt x="723329" y="1030346"/>
                  <a:pt x="669369" y="1028524"/>
                  <a:pt x="619738" y="1005076"/>
                </a:cubicBezTo>
                <a:cubicBezTo>
                  <a:pt x="654930" y="987546"/>
                  <a:pt x="687956" y="1005759"/>
                  <a:pt x="721344" y="1015777"/>
                </a:cubicBezTo>
                <a:cubicBezTo>
                  <a:pt x="749317" y="1023970"/>
                  <a:pt x="774583" y="1025337"/>
                  <a:pt x="777650" y="976393"/>
                </a:cubicBezTo>
                <a:cubicBezTo>
                  <a:pt x="776566" y="973205"/>
                  <a:pt x="776747" y="969107"/>
                  <a:pt x="776929" y="965238"/>
                </a:cubicBezTo>
                <a:cubicBezTo>
                  <a:pt x="767542" y="944976"/>
                  <a:pt x="752926" y="934504"/>
                  <a:pt x="735601" y="928584"/>
                </a:cubicBezTo>
                <a:cubicBezTo>
                  <a:pt x="725133" y="924942"/>
                  <a:pt x="711237" y="919478"/>
                  <a:pt x="711416" y="904909"/>
                </a:cubicBezTo>
                <a:cubicBezTo>
                  <a:pt x="711958" y="850955"/>
                  <a:pt x="678571" y="835246"/>
                  <a:pt x="645185" y="819539"/>
                </a:cubicBezTo>
                <a:cubicBezTo>
                  <a:pt x="663773" y="792676"/>
                  <a:pt x="678391" y="812481"/>
                  <a:pt x="692468" y="810433"/>
                </a:cubicBezTo>
                <a:cubicBezTo>
                  <a:pt x="701672" y="809067"/>
                  <a:pt x="709973" y="806563"/>
                  <a:pt x="709973" y="792676"/>
                </a:cubicBezTo>
                <a:cubicBezTo>
                  <a:pt x="710154" y="781065"/>
                  <a:pt x="705822" y="767861"/>
                  <a:pt x="696799" y="767635"/>
                </a:cubicBezTo>
                <a:cubicBezTo>
                  <a:pt x="640312" y="765585"/>
                  <a:pt x="609090" y="690914"/>
                  <a:pt x="550437" y="690687"/>
                </a:cubicBezTo>
                <a:cubicBezTo>
                  <a:pt x="515425" y="690687"/>
                  <a:pt x="568666" y="648572"/>
                  <a:pt x="539068" y="631042"/>
                </a:cubicBezTo>
                <a:cubicBezTo>
                  <a:pt x="532570" y="627171"/>
                  <a:pt x="556032" y="621254"/>
                  <a:pt x="566500" y="622164"/>
                </a:cubicBezTo>
                <a:cubicBezTo>
                  <a:pt x="576786" y="623074"/>
                  <a:pt x="585990" y="634229"/>
                  <a:pt x="598443" y="626261"/>
                </a:cubicBezTo>
                <a:cubicBezTo>
                  <a:pt x="605300" y="597806"/>
                  <a:pt x="587615" y="587332"/>
                  <a:pt x="572996" y="579365"/>
                </a:cubicBezTo>
                <a:cubicBezTo>
                  <a:pt x="539247" y="560925"/>
                  <a:pt x="506402" y="538615"/>
                  <a:pt x="469405" y="532013"/>
                </a:cubicBezTo>
                <a:cubicBezTo>
                  <a:pt x="456232" y="529737"/>
                  <a:pt x="488355" y="499231"/>
                  <a:pt x="494671" y="488532"/>
                </a:cubicBezTo>
                <a:cubicBezTo>
                  <a:pt x="345782" y="376071"/>
                  <a:pt x="166756" y="381762"/>
                  <a:pt x="0" y="290928"/>
                </a:cubicBezTo>
                <a:cubicBezTo>
                  <a:pt x="36817" y="273173"/>
                  <a:pt x="63887" y="286148"/>
                  <a:pt x="88973" y="288880"/>
                </a:cubicBezTo>
                <a:cubicBezTo>
                  <a:pt x="151595" y="295708"/>
                  <a:pt x="213498" y="309822"/>
                  <a:pt x="275940" y="318246"/>
                </a:cubicBezTo>
                <a:cubicBezTo>
                  <a:pt x="306620" y="322344"/>
                  <a:pt x="335134" y="337824"/>
                  <a:pt x="369424" y="313239"/>
                </a:cubicBezTo>
                <a:cubicBezTo>
                  <a:pt x="392343" y="296847"/>
                  <a:pt x="428980" y="314604"/>
                  <a:pt x="457133" y="329174"/>
                </a:cubicBezTo>
                <a:cubicBezTo>
                  <a:pt x="480414" y="341238"/>
                  <a:pt x="502612" y="344425"/>
                  <a:pt x="533474" y="329174"/>
                </a:cubicBezTo>
                <a:cubicBezTo>
                  <a:pt x="505501" y="319841"/>
                  <a:pt x="484023" y="311645"/>
                  <a:pt x="462006" y="305953"/>
                </a:cubicBezTo>
                <a:cubicBezTo>
                  <a:pt x="444501" y="301400"/>
                  <a:pt x="486189" y="282960"/>
                  <a:pt x="507484" y="285237"/>
                </a:cubicBezTo>
                <a:cubicBezTo>
                  <a:pt x="537263" y="288423"/>
                  <a:pt x="520479" y="276586"/>
                  <a:pt x="515425" y="260195"/>
                </a:cubicBezTo>
                <a:cubicBezTo>
                  <a:pt x="510012" y="242665"/>
                  <a:pt x="526074" y="237203"/>
                  <a:pt x="536180" y="240844"/>
                </a:cubicBezTo>
                <a:cubicBezTo>
                  <a:pt x="574980" y="255187"/>
                  <a:pt x="613602" y="229917"/>
                  <a:pt x="653668" y="250407"/>
                </a:cubicBezTo>
                <a:cubicBezTo>
                  <a:pt x="643561" y="199867"/>
                  <a:pt x="621723" y="177784"/>
                  <a:pt x="576064" y="170726"/>
                </a:cubicBezTo>
                <a:cubicBezTo>
                  <a:pt x="558919" y="167996"/>
                  <a:pt x="541053" y="172093"/>
                  <a:pt x="526254" y="157522"/>
                </a:cubicBezTo>
                <a:cubicBezTo>
                  <a:pt x="517771" y="149101"/>
                  <a:pt x="508207" y="139084"/>
                  <a:pt x="514884" y="123603"/>
                </a:cubicBezTo>
                <a:cubicBezTo>
                  <a:pt x="519577" y="112674"/>
                  <a:pt x="529684" y="112674"/>
                  <a:pt x="537985" y="116318"/>
                </a:cubicBezTo>
                <a:cubicBezTo>
                  <a:pt x="575162" y="132483"/>
                  <a:pt x="613963" y="138400"/>
                  <a:pt x="652764" y="144320"/>
                </a:cubicBezTo>
                <a:cubicBezTo>
                  <a:pt x="658720" y="145230"/>
                  <a:pt x="665397" y="148191"/>
                  <a:pt x="672075" y="133164"/>
                </a:cubicBezTo>
                <a:cubicBezTo>
                  <a:pt x="599526" y="108805"/>
                  <a:pt x="530585" y="74202"/>
                  <a:pt x="456051" y="60770"/>
                </a:cubicBezTo>
                <a:cubicBezTo>
                  <a:pt x="457133" y="54397"/>
                  <a:pt x="458215" y="48022"/>
                  <a:pt x="459299" y="41649"/>
                </a:cubicBezTo>
                <a:cubicBezTo>
                  <a:pt x="517591" y="50753"/>
                  <a:pt x="575884" y="59859"/>
                  <a:pt x="649515" y="71243"/>
                </a:cubicBezTo>
                <a:cubicBezTo>
                  <a:pt x="604218" y="35045"/>
                  <a:pt x="561446" y="47111"/>
                  <a:pt x="527879" y="15013"/>
                </a:cubicBezTo>
                <a:cubicBezTo>
                  <a:pt x="534195" y="2833"/>
                  <a:pt x="541820" y="-241"/>
                  <a:pt x="549716" y="15"/>
                </a:cubicBezTo>
                <a:close/>
              </a:path>
            </a:pathLst>
          </a:cu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7EEB7B4-29A0-45C0-A601-8CD663954CA6}"/>
              </a:ext>
            </a:extLst>
          </p:cNvPr>
          <p:cNvSpPr txBox="1"/>
          <p:nvPr/>
        </p:nvSpPr>
        <p:spPr>
          <a:xfrm>
            <a:off x="306592" y="3472354"/>
            <a:ext cx="46925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0872A6"/>
                </a:solidFill>
              </a:rPr>
              <a:t>50 GW</a:t>
            </a:r>
            <a:r>
              <a:rPr lang="en-US" sz="1400" dirty="0"/>
              <a:t> </a:t>
            </a:r>
            <a:r>
              <a:rPr lang="en-GB" sz="1400" dirty="0"/>
              <a:t> Offshore wind in Fujian province, China (</a:t>
            </a:r>
            <a:r>
              <a:rPr lang="en-GB" sz="1400" b="1" dirty="0">
                <a:solidFill>
                  <a:srgbClr val="0872A6"/>
                </a:solidFill>
              </a:rPr>
              <a:t>2030</a:t>
            </a:r>
            <a:r>
              <a:rPr lang="en-GB" sz="1400" dirty="0"/>
              <a:t>)</a:t>
            </a:r>
            <a:endParaRPr lang="en-US" sz="14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ED86F28-97C4-4C06-BCF7-67AD8060403C}"/>
              </a:ext>
            </a:extLst>
          </p:cNvPr>
          <p:cNvSpPr txBox="1"/>
          <p:nvPr/>
        </p:nvSpPr>
        <p:spPr>
          <a:xfrm>
            <a:off x="10592790" y="1069754"/>
            <a:ext cx="131690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chemeClr val="bg1"/>
                </a:solidFill>
              </a:rPr>
              <a:t>Image source: RW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BDF7EAD-F3EF-47AC-B2B4-D3B962EA1DA4}"/>
              </a:ext>
            </a:extLst>
          </p:cNvPr>
          <p:cNvSpPr txBox="1"/>
          <p:nvPr/>
        </p:nvSpPr>
        <p:spPr>
          <a:xfrm>
            <a:off x="912420" y="1185170"/>
            <a:ext cx="197328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chemeClr val="bg1"/>
                </a:solidFill>
              </a:rPr>
              <a:t>Image source: </a:t>
            </a:r>
            <a:r>
              <a:rPr lang="en-US" sz="900" b="1" dirty="0" err="1">
                <a:solidFill>
                  <a:schemeClr val="bg1"/>
                </a:solidFill>
              </a:rPr>
              <a:t>Chinadialogue</a:t>
            </a:r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0E43C83-975E-4221-8007-650C3E16CD08}"/>
              </a:ext>
            </a:extLst>
          </p:cNvPr>
          <p:cNvSpPr txBox="1"/>
          <p:nvPr/>
        </p:nvSpPr>
        <p:spPr>
          <a:xfrm>
            <a:off x="912420" y="4204667"/>
            <a:ext cx="197328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chemeClr val="bg1"/>
                </a:solidFill>
              </a:rPr>
              <a:t>Image source: world-energ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FE0C317-5BF1-4C08-84CE-2F29363AF091}"/>
              </a:ext>
            </a:extLst>
          </p:cNvPr>
          <p:cNvSpPr txBox="1"/>
          <p:nvPr/>
        </p:nvSpPr>
        <p:spPr>
          <a:xfrm>
            <a:off x="7503225" y="4204667"/>
            <a:ext cx="197328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chemeClr val="bg1"/>
                </a:solidFill>
              </a:rPr>
              <a:t>Image source: renews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59D0625-D04C-4E30-89DF-D7A3EFCCB7DE}"/>
              </a:ext>
            </a:extLst>
          </p:cNvPr>
          <p:cNvSpPr txBox="1">
            <a:spLocks/>
          </p:cNvSpPr>
          <p:nvPr/>
        </p:nvSpPr>
        <p:spPr bwMode="auto">
          <a:xfrm>
            <a:off x="437577" y="75791"/>
            <a:ext cx="9036067" cy="842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>
              <a:defRPr sz="2600" b="1">
                <a:solidFill>
                  <a:srgbClr val="002060"/>
                </a:solidFill>
                <a:latin typeface="+mn-lt"/>
                <a:cs typeface="+mj-cs"/>
              </a:defRPr>
            </a:lvl1pPr>
            <a:lvl2pPr>
              <a:defRPr sz="2700" b="1">
                <a:solidFill>
                  <a:srgbClr val="0872A6"/>
                </a:solidFill>
                <a:latin typeface="ITC Avant Garde Gothic" charset="0"/>
                <a:cs typeface="Arial" charset="0"/>
              </a:defRPr>
            </a:lvl2pPr>
            <a:lvl3pPr>
              <a:defRPr sz="2700" b="1">
                <a:solidFill>
                  <a:srgbClr val="0872A6"/>
                </a:solidFill>
                <a:latin typeface="ITC Avant Garde Gothic" charset="0"/>
                <a:cs typeface="Arial" charset="0"/>
              </a:defRPr>
            </a:lvl3pPr>
            <a:lvl4pPr>
              <a:defRPr sz="2700" b="1">
                <a:solidFill>
                  <a:srgbClr val="0872A6"/>
                </a:solidFill>
                <a:latin typeface="ITC Avant Garde Gothic" charset="0"/>
                <a:cs typeface="Arial" charset="0"/>
              </a:defRPr>
            </a:lvl4pPr>
            <a:lvl5pPr>
              <a:defRPr sz="2700" b="1">
                <a:solidFill>
                  <a:srgbClr val="0872A6"/>
                </a:solidFill>
                <a:latin typeface="ITC Avant Garde Gothic" charset="0"/>
                <a:cs typeface="Arial" charset="0"/>
              </a:defRPr>
            </a:lvl5pPr>
            <a:lvl6pPr marL="511761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6pPr>
            <a:lvl7pPr marL="1023523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7pPr>
            <a:lvl8pPr marL="1535285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8pPr>
            <a:lvl9pPr marL="2047046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GB" sz="2800" dirty="0">
                <a:solidFill>
                  <a:srgbClr val="0872A6"/>
                </a:solidFill>
                <a:latin typeface="ITC Avant Garde Gothic" pitchFamily="34" charset="0"/>
              </a:rPr>
              <a:t>Upcoming developments</a:t>
            </a:r>
          </a:p>
        </p:txBody>
      </p:sp>
    </p:spTree>
    <p:extLst>
      <p:ext uri="{BB962C8B-B14F-4D97-AF65-F5344CB8AC3E}">
        <p14:creationId xmlns:p14="http://schemas.microsoft.com/office/powerpoint/2010/main" val="14539013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A599A6F-68AA-4454-8CB9-612B0D5297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A599A6F-68AA-4454-8CB9-612B0D5297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>
            <a:extLst>
              <a:ext uri="{FF2B5EF4-FFF2-40B4-BE49-F238E27FC236}">
                <a16:creationId xmlns:a16="http://schemas.microsoft.com/office/drawing/2014/main" id="{E6AEEB0D-0994-4F67-B612-E06D692D4D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52" y="1619688"/>
            <a:ext cx="4605132" cy="4826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25392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1" u="none" strike="noStrike" cap="none" normalizeH="0" baseline="0" dirty="0">
                <a:ln>
                  <a:noFill/>
                </a:ln>
                <a:solidFill>
                  <a:srgbClr val="0872A6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Feed-in-tariffs, feed-in-premiums, auctions - </a:t>
            </a:r>
            <a:r>
              <a:rPr kumimoji="0" lang="en-US" altLang="en-US" sz="1800" b="1" u="none" strike="noStrike" cap="none" normalizeH="0" baseline="0" dirty="0" err="1">
                <a:ln>
                  <a:noFill/>
                </a:ln>
                <a:solidFill>
                  <a:srgbClr val="0872A6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fD</a:t>
            </a:r>
            <a:r>
              <a:rPr kumimoji="0" lang="en-US" altLang="en-US" sz="1800" b="1" u="none" strike="noStrike" cap="none" normalizeH="0" baseline="0" dirty="0">
                <a:ln>
                  <a:noFill/>
                </a:ln>
                <a:solidFill>
                  <a:srgbClr val="0872A6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PPAs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altLang="en-US" b="1" u="none" strike="noStrike" cap="none" normalizeH="0" baseline="0" dirty="0">
              <a:ln>
                <a:noFill/>
              </a:ln>
              <a:solidFill>
                <a:srgbClr val="0872A6"/>
              </a:solidFill>
              <a:effectLst/>
              <a:latin typeface="+mn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kumimoji="0" lang="en-US" altLang="en-US" u="none" strike="noStrike" cap="none" normalizeH="0" baseline="0" dirty="0">
                <a:ln>
                  <a:noFill/>
                </a:ln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EU Offshore wind auctions 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kumimoji="0" lang="en-US" altLang="en-US" u="none" strike="noStrike" cap="none" normalizeH="0" baseline="0" dirty="0">
                <a:ln>
                  <a:noFill/>
                </a:ln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hina feed-in-tariff for </a:t>
            </a:r>
            <a:r>
              <a:rPr lang="en-US" altLang="en-US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idal </a:t>
            </a:r>
            <a:r>
              <a:rPr kumimoji="0" lang="en-US" altLang="en-US" u="none" strike="noStrike" cap="none" normalizeH="0" baseline="0" dirty="0">
                <a:ln>
                  <a:noFill/>
                </a:ln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energy of USD 0.39/kWh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kumimoji="0" lang="en-GB" altLang="en-US" u="none" strike="noStrike" cap="none" normalizeH="0" baseline="0" dirty="0">
                <a:ln>
                  <a:noFill/>
                </a:ln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anada feed-in-tariffs for tidal energy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br>
              <a:rPr kumimoji="0" lang="en-US" altLang="en-US" u="none" strike="noStrike" cap="none" normalizeH="0" baseline="0" dirty="0">
                <a:ln>
                  <a:noFill/>
                </a:ln>
                <a:effectLst/>
                <a:latin typeface="+mn-lt"/>
              </a:rPr>
            </a:br>
            <a:br>
              <a:rPr kumimoji="0" lang="en-US" altLang="en-US" u="none" strike="noStrike" cap="none" normalizeH="0" baseline="0" dirty="0">
                <a:ln>
                  <a:noFill/>
                </a:ln>
                <a:effectLst/>
                <a:latin typeface="+mn-lt"/>
              </a:rPr>
            </a:br>
            <a:endParaRPr kumimoji="0" lang="en-US" altLang="en-US" u="none" strike="noStrike" cap="none" normalizeH="0" baseline="0" dirty="0">
              <a:ln>
                <a:noFill/>
              </a:ln>
              <a:effectLst/>
              <a:latin typeface="+mn-lt"/>
            </a:endParaRP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1" u="none" strike="noStrike" cap="none" normalizeH="0" baseline="0" dirty="0">
                <a:ln>
                  <a:noFill/>
                </a:ln>
                <a:solidFill>
                  <a:srgbClr val="0872A6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rovide public capital investment support 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altLang="en-US" b="1" u="none" strike="noStrike" cap="none" normalizeH="0" baseline="0" dirty="0">
              <a:ln>
                <a:noFill/>
              </a:ln>
              <a:solidFill>
                <a:srgbClr val="0872A6"/>
              </a:solidFill>
              <a:effectLst/>
              <a:latin typeface="+mn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kumimoji="0" lang="en-GB" altLang="en-US" u="none" strike="noStrike" cap="none" normalizeH="0" baseline="0" dirty="0">
                <a:ln>
                  <a:noFill/>
                </a:ln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Welsh Government (UK) provides USD 1.7 million (GPB 1.2 million) for a tidal energy project off North Wales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kumimoji="0" lang="en-GB" altLang="en-US" u="none" strike="noStrike" cap="none" normalizeH="0" baseline="0" dirty="0">
                <a:ln>
                  <a:noFill/>
                </a:ln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Korea plans to invest USD 43 billion for an 8.2 GW offshore wind power plant.</a:t>
            </a:r>
            <a:endParaRPr kumimoji="0" lang="en-US" altLang="en-US" u="none" strike="noStrike" cap="none" normalizeH="0" baseline="0" dirty="0">
              <a:ln>
                <a:noFill/>
              </a:ln>
              <a:effectLst/>
              <a:latin typeface="+mn-lt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GB" altLang="en-US" u="none" strike="noStrike" cap="none" normalizeH="0" baseline="0" dirty="0">
              <a:ln>
                <a:noFill/>
              </a:ln>
              <a:effectLst/>
              <a:latin typeface="+mn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0CF9AC1-5E97-48F0-B176-C76DDBAB2D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49928" y="1782992"/>
            <a:ext cx="6847620" cy="45482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A81B21F-F209-402E-9E3E-C5BB86EADC3B}"/>
              </a:ext>
            </a:extLst>
          </p:cNvPr>
          <p:cNvSpPr txBox="1"/>
          <p:nvPr/>
        </p:nvSpPr>
        <p:spPr>
          <a:xfrm>
            <a:off x="4929809" y="6331226"/>
            <a:ext cx="54168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latin typeface="+mn-lt"/>
              </a:rPr>
              <a:t>Source: Jansen et al (2020)  Offshore wind competitiveness in mature markets without subsidy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C292972-A7E2-41C3-9778-D30AC1FEF40A}"/>
              </a:ext>
            </a:extLst>
          </p:cNvPr>
          <p:cNvSpPr txBox="1"/>
          <p:nvPr/>
        </p:nvSpPr>
        <p:spPr>
          <a:xfrm>
            <a:off x="5480154" y="1096992"/>
            <a:ext cx="63871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002060"/>
                </a:solidFill>
                <a:latin typeface="+mn-lt"/>
              </a:rPr>
              <a:t>Auction design for Offshore Wind varies and has an impact on result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7F5F018-A62C-4AE4-99D8-15854E5D9AC6}"/>
              </a:ext>
            </a:extLst>
          </p:cNvPr>
          <p:cNvSpPr txBox="1">
            <a:spLocks/>
          </p:cNvSpPr>
          <p:nvPr/>
        </p:nvSpPr>
        <p:spPr bwMode="auto">
          <a:xfrm>
            <a:off x="437577" y="75791"/>
            <a:ext cx="9036067" cy="842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>
              <a:defRPr sz="2600" b="1">
                <a:solidFill>
                  <a:srgbClr val="002060"/>
                </a:solidFill>
                <a:latin typeface="+mn-lt"/>
                <a:cs typeface="+mj-cs"/>
              </a:defRPr>
            </a:lvl1pPr>
            <a:lvl2pPr>
              <a:defRPr sz="2700" b="1">
                <a:solidFill>
                  <a:srgbClr val="0872A6"/>
                </a:solidFill>
                <a:latin typeface="ITC Avant Garde Gothic" charset="0"/>
                <a:cs typeface="Arial" charset="0"/>
              </a:defRPr>
            </a:lvl2pPr>
            <a:lvl3pPr>
              <a:defRPr sz="2700" b="1">
                <a:solidFill>
                  <a:srgbClr val="0872A6"/>
                </a:solidFill>
                <a:latin typeface="ITC Avant Garde Gothic" charset="0"/>
                <a:cs typeface="Arial" charset="0"/>
              </a:defRPr>
            </a:lvl3pPr>
            <a:lvl4pPr>
              <a:defRPr sz="2700" b="1">
                <a:solidFill>
                  <a:srgbClr val="0872A6"/>
                </a:solidFill>
                <a:latin typeface="ITC Avant Garde Gothic" charset="0"/>
                <a:cs typeface="Arial" charset="0"/>
              </a:defRPr>
            </a:lvl4pPr>
            <a:lvl5pPr>
              <a:defRPr sz="2700" b="1">
                <a:solidFill>
                  <a:srgbClr val="0872A6"/>
                </a:solidFill>
                <a:latin typeface="ITC Avant Garde Gothic" charset="0"/>
                <a:cs typeface="Arial" charset="0"/>
              </a:defRPr>
            </a:lvl5pPr>
            <a:lvl6pPr marL="511761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6pPr>
            <a:lvl7pPr marL="1023523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7pPr>
            <a:lvl8pPr marL="1535285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8pPr>
            <a:lvl9pPr marL="2047046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GB" sz="2800" dirty="0">
                <a:solidFill>
                  <a:srgbClr val="0872A6"/>
                </a:solidFill>
                <a:latin typeface="ITC Avant Garde Gothic" pitchFamily="34" charset="0"/>
              </a:rPr>
              <a:t>Different policy instruments – different results</a:t>
            </a:r>
          </a:p>
        </p:txBody>
      </p:sp>
    </p:spTree>
    <p:extLst>
      <p:ext uri="{BB962C8B-B14F-4D97-AF65-F5344CB8AC3E}">
        <p14:creationId xmlns:p14="http://schemas.microsoft.com/office/powerpoint/2010/main" val="16950493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quity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9ED2EC4029754A93DB0EC8B0EEEF63" ma:contentTypeVersion="11" ma:contentTypeDescription="Create a new document." ma:contentTypeScope="" ma:versionID="737d9800a217cfc3ececf791a34a5c1a">
  <xsd:schema xmlns:xsd="http://www.w3.org/2001/XMLSchema" xmlns:xs="http://www.w3.org/2001/XMLSchema" xmlns:p="http://schemas.microsoft.com/office/2006/metadata/properties" xmlns:ns2="74d4368a-4de0-450e-be0a-ad0ce07b6f11" targetNamespace="http://schemas.microsoft.com/office/2006/metadata/properties" ma:root="true" ma:fieldsID="43287599c1717df4e7b0e27fbb17ee3c" ns2:_="">
    <xsd:import namespace="74d4368a-4de0-450e-be0a-ad0ce07b6f1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d4368a-4de0-450e-be0a-ad0ce07b6f1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5AF05C4-23A6-4445-8F9C-7BB713C9008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7E09ADC-F336-404E-BFB4-99D9AADCE1A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4d4368a-4de0-450e-be0a-ad0ce07b6f1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463C7FB-0BBE-4C4E-9A0B-C88DE78B19B8}">
  <ds:schemaRefs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063e7827-5a85-4d75-81a2-c1028fb6a9ed"/>
    <ds:schemaRef ds:uri="5ea2b1b8-5860-4773-b21a-e1eeb540fecf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87</TotalTime>
  <Words>1137</Words>
  <Application>Microsoft Office PowerPoint</Application>
  <PresentationFormat>Widescreen</PresentationFormat>
  <Paragraphs>188</Paragraphs>
  <Slides>12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2</vt:i4>
      </vt:variant>
    </vt:vector>
  </HeadingPairs>
  <TitlesOfParts>
    <vt:vector size="15" baseType="lpstr">
      <vt:lpstr>Standarddesign</vt:lpstr>
      <vt:lpstr>Custom Design</vt:lpstr>
      <vt:lpstr>Diseño personalizado</vt:lpstr>
      <vt:lpstr>PowerPoint Presentation</vt:lpstr>
      <vt:lpstr>Importance of G20 supporting Offshore Renewables</vt:lpstr>
      <vt:lpstr>Contributions of offshore renewables to the Blue Economy and the Energy Transition  </vt:lpstr>
      <vt:lpstr>IRENA’s support to G20 on Offshore Renewabl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Office</dc:creator>
  <cp:lastModifiedBy>Francisco Boshell</cp:lastModifiedBy>
  <cp:revision>116</cp:revision>
  <cp:lastPrinted>2019-11-28T12:41:15Z</cp:lastPrinted>
  <dcterms:created xsi:type="dcterms:W3CDTF">2014-05-21T09:20:58Z</dcterms:created>
  <dcterms:modified xsi:type="dcterms:W3CDTF">2022-01-13T08:32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9ED2EC4029754A93DB0EC8B0EEEF63</vt:lpwstr>
  </property>
</Properties>
</file>